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7" r:id="rId2"/>
    <p:sldId id="258" r:id="rId3"/>
    <p:sldId id="266" r:id="rId4"/>
    <p:sldId id="278" r:id="rId5"/>
    <p:sldId id="271" r:id="rId6"/>
    <p:sldId id="279" r:id="rId7"/>
    <p:sldId id="280" r:id="rId8"/>
    <p:sldId id="286" r:id="rId9"/>
    <p:sldId id="277" r:id="rId10"/>
    <p:sldId id="272" r:id="rId11"/>
    <p:sldId id="273" r:id="rId12"/>
    <p:sldId id="274" r:id="rId13"/>
    <p:sldId id="288" r:id="rId14"/>
    <p:sldId id="265" r:id="rId15"/>
    <p:sldId id="282" r:id="rId16"/>
    <p:sldId id="259" r:id="rId17"/>
    <p:sldId id="285" r:id="rId18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4A3454-2FC8-4905-AF79-7A399E9600B2}" v="147" dt="2019-12-22T09:35:16.74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27" autoAdjust="0"/>
    <p:restoredTop sz="94660"/>
  </p:normalViewPr>
  <p:slideViewPr>
    <p:cSldViewPr snapToGrid="0">
      <p:cViewPr varScale="1">
        <p:scale>
          <a:sx n="63" d="100"/>
          <a:sy n="63" d="100"/>
        </p:scale>
        <p:origin x="7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ing-Cheng Hsu" userId="aac0c60d-8160-4da0-abef-43bda3d2e492" providerId="ADAL" clId="{F06AB70C-563E-4EED-8B70-5BC13D4CF02E}"/>
    <pc:docChg chg="custSel addSld delSld modSld sldOrd">
      <pc:chgData name="Ching-Cheng Hsu" userId="aac0c60d-8160-4da0-abef-43bda3d2e492" providerId="ADAL" clId="{F06AB70C-563E-4EED-8B70-5BC13D4CF02E}" dt="2019-12-22T21:08:11.759" v="4780" actId="20577"/>
      <pc:docMkLst>
        <pc:docMk/>
      </pc:docMkLst>
      <pc:sldChg chg="modSp mod">
        <pc:chgData name="Ching-Cheng Hsu" userId="aac0c60d-8160-4da0-abef-43bda3d2e492" providerId="ADAL" clId="{F06AB70C-563E-4EED-8B70-5BC13D4CF02E}" dt="2019-12-21T15:29:47.086" v="137" actId="20577"/>
        <pc:sldMkLst>
          <pc:docMk/>
          <pc:sldMk cId="284506033" sldId="257"/>
        </pc:sldMkLst>
        <pc:spChg chg="mod">
          <ac:chgData name="Ching-Cheng Hsu" userId="aac0c60d-8160-4da0-abef-43bda3d2e492" providerId="ADAL" clId="{F06AB70C-563E-4EED-8B70-5BC13D4CF02E}" dt="2019-12-21T15:29:47.086" v="137" actId="20577"/>
          <ac:spMkLst>
            <pc:docMk/>
            <pc:sldMk cId="284506033" sldId="257"/>
            <ac:spMk id="4" creationId="{00000000-0000-0000-0000-000000000000}"/>
          </ac:spMkLst>
        </pc:spChg>
      </pc:sldChg>
      <pc:sldChg chg="modSp mod">
        <pc:chgData name="Ching-Cheng Hsu" userId="aac0c60d-8160-4da0-abef-43bda3d2e492" providerId="ADAL" clId="{F06AB70C-563E-4EED-8B70-5BC13D4CF02E}" dt="2019-12-22T00:51:49.683" v="3298" actId="20577"/>
        <pc:sldMkLst>
          <pc:docMk/>
          <pc:sldMk cId="675619476" sldId="258"/>
        </pc:sldMkLst>
        <pc:spChg chg="mod">
          <ac:chgData name="Ching-Cheng Hsu" userId="aac0c60d-8160-4da0-abef-43bda3d2e492" providerId="ADAL" clId="{F06AB70C-563E-4EED-8B70-5BC13D4CF02E}" dt="2019-12-22T00:51:49.683" v="3298" actId="20577"/>
          <ac:spMkLst>
            <pc:docMk/>
            <pc:sldMk cId="675619476" sldId="258"/>
            <ac:spMk id="8" creationId="{B2BADE6A-E30E-4817-999F-8307BB2A5049}"/>
          </ac:spMkLst>
        </pc:spChg>
      </pc:sldChg>
      <pc:sldChg chg="addSp delSp modSp mod">
        <pc:chgData name="Ching-Cheng Hsu" userId="aac0c60d-8160-4da0-abef-43bda3d2e492" providerId="ADAL" clId="{F06AB70C-563E-4EED-8B70-5BC13D4CF02E}" dt="2019-12-22T00:39:47.731" v="3122" actId="20577"/>
        <pc:sldMkLst>
          <pc:docMk/>
          <pc:sldMk cId="2311378963" sldId="259"/>
        </pc:sldMkLst>
        <pc:spChg chg="mod">
          <ac:chgData name="Ching-Cheng Hsu" userId="aac0c60d-8160-4da0-abef-43bda3d2e492" providerId="ADAL" clId="{F06AB70C-563E-4EED-8B70-5BC13D4CF02E}" dt="2019-12-22T00:39:47.731" v="3122" actId="20577"/>
          <ac:spMkLst>
            <pc:docMk/>
            <pc:sldMk cId="2311378963" sldId="259"/>
            <ac:spMk id="5" creationId="{3A6FA280-DE46-4763-9C3D-FE9377B5BF4B}"/>
          </ac:spMkLst>
        </pc:spChg>
        <pc:spChg chg="del">
          <ac:chgData name="Ching-Cheng Hsu" userId="aac0c60d-8160-4da0-abef-43bda3d2e492" providerId="ADAL" clId="{F06AB70C-563E-4EED-8B70-5BC13D4CF02E}" dt="2019-12-22T00:37:37.680" v="3026" actId="21"/>
          <ac:spMkLst>
            <pc:docMk/>
            <pc:sldMk cId="2311378963" sldId="259"/>
            <ac:spMk id="8" creationId="{BF35FFA2-33F3-4C8D-8C7C-805CF997B658}"/>
          </ac:spMkLst>
        </pc:spChg>
        <pc:spChg chg="del">
          <ac:chgData name="Ching-Cheng Hsu" userId="aac0c60d-8160-4da0-abef-43bda3d2e492" providerId="ADAL" clId="{F06AB70C-563E-4EED-8B70-5BC13D4CF02E}" dt="2019-12-22T00:37:40.797" v="3027" actId="21"/>
          <ac:spMkLst>
            <pc:docMk/>
            <pc:sldMk cId="2311378963" sldId="259"/>
            <ac:spMk id="9" creationId="{03F59A69-539F-4B87-A128-FEE08055C97B}"/>
          </ac:spMkLst>
        </pc:spChg>
        <pc:spChg chg="del">
          <ac:chgData name="Ching-Cheng Hsu" userId="aac0c60d-8160-4da0-abef-43bda3d2e492" providerId="ADAL" clId="{F06AB70C-563E-4EED-8B70-5BC13D4CF02E}" dt="2019-12-22T00:37:49.179" v="3028" actId="21"/>
          <ac:spMkLst>
            <pc:docMk/>
            <pc:sldMk cId="2311378963" sldId="259"/>
            <ac:spMk id="10" creationId="{A8F4B2C2-B01F-44EA-B471-6FE6AC4B1FDE}"/>
          </ac:spMkLst>
        </pc:spChg>
        <pc:spChg chg="del">
          <ac:chgData name="Ching-Cheng Hsu" userId="aac0c60d-8160-4da0-abef-43bda3d2e492" providerId="ADAL" clId="{F06AB70C-563E-4EED-8B70-5BC13D4CF02E}" dt="2019-12-22T00:37:37.680" v="3026" actId="21"/>
          <ac:spMkLst>
            <pc:docMk/>
            <pc:sldMk cId="2311378963" sldId="259"/>
            <ac:spMk id="11" creationId="{086767B3-FAF7-44E4-A10D-2C8F9BAE3EE8}"/>
          </ac:spMkLst>
        </pc:spChg>
        <pc:picChg chg="del">
          <ac:chgData name="Ching-Cheng Hsu" userId="aac0c60d-8160-4da0-abef-43bda3d2e492" providerId="ADAL" clId="{F06AB70C-563E-4EED-8B70-5BC13D4CF02E}" dt="2019-12-22T00:37:31.248" v="3025" actId="21"/>
          <ac:picMkLst>
            <pc:docMk/>
            <pc:sldMk cId="2311378963" sldId="259"/>
            <ac:picMk id="6" creationId="{6093B6CC-46BE-46E0-BC7F-835B97F44588}"/>
          </ac:picMkLst>
        </pc:picChg>
        <pc:picChg chg="add mod">
          <ac:chgData name="Ching-Cheng Hsu" userId="aac0c60d-8160-4da0-abef-43bda3d2e492" providerId="ADAL" clId="{F06AB70C-563E-4EED-8B70-5BC13D4CF02E}" dt="2019-12-22T00:39:40.831" v="3097" actId="14100"/>
          <ac:picMkLst>
            <pc:docMk/>
            <pc:sldMk cId="2311378963" sldId="259"/>
            <ac:picMk id="3074" creationId="{B68D7462-BACF-4D82-992F-899FE5997F52}"/>
          </ac:picMkLst>
        </pc:picChg>
        <pc:cxnChg chg="del mod">
          <ac:chgData name="Ching-Cheng Hsu" userId="aac0c60d-8160-4da0-abef-43bda3d2e492" providerId="ADAL" clId="{F06AB70C-563E-4EED-8B70-5BC13D4CF02E}" dt="2019-12-22T00:37:37.680" v="3026" actId="21"/>
          <ac:cxnSpMkLst>
            <pc:docMk/>
            <pc:sldMk cId="2311378963" sldId="259"/>
            <ac:cxnSpMk id="15" creationId="{0217CD4D-A508-43BE-975E-20530C5CF44C}"/>
          </ac:cxnSpMkLst>
        </pc:cxnChg>
        <pc:cxnChg chg="del">
          <ac:chgData name="Ching-Cheng Hsu" userId="aac0c60d-8160-4da0-abef-43bda3d2e492" providerId="ADAL" clId="{F06AB70C-563E-4EED-8B70-5BC13D4CF02E}" dt="2019-12-22T00:37:37.680" v="3026" actId="21"/>
          <ac:cxnSpMkLst>
            <pc:docMk/>
            <pc:sldMk cId="2311378963" sldId="259"/>
            <ac:cxnSpMk id="18" creationId="{0351EFF6-9132-48D7-9628-1D52930A3EA6}"/>
          </ac:cxnSpMkLst>
        </pc:cxnChg>
        <pc:cxnChg chg="del">
          <ac:chgData name="Ching-Cheng Hsu" userId="aac0c60d-8160-4da0-abef-43bda3d2e492" providerId="ADAL" clId="{F06AB70C-563E-4EED-8B70-5BC13D4CF02E}" dt="2019-12-22T00:37:37.680" v="3026" actId="21"/>
          <ac:cxnSpMkLst>
            <pc:docMk/>
            <pc:sldMk cId="2311378963" sldId="259"/>
            <ac:cxnSpMk id="21" creationId="{F61E4F28-1AA9-4BAA-BA8E-9D34C185A74B}"/>
          </ac:cxnSpMkLst>
        </pc:cxnChg>
      </pc:sldChg>
      <pc:sldChg chg="del">
        <pc:chgData name="Ching-Cheng Hsu" userId="aac0c60d-8160-4da0-abef-43bda3d2e492" providerId="ADAL" clId="{F06AB70C-563E-4EED-8B70-5BC13D4CF02E}" dt="2019-12-22T07:31:25.899" v="3730" actId="2696"/>
        <pc:sldMkLst>
          <pc:docMk/>
          <pc:sldMk cId="1677690392" sldId="260"/>
        </pc:sldMkLst>
      </pc:sldChg>
      <pc:sldChg chg="addSp delSp modSp mod">
        <pc:chgData name="Ching-Cheng Hsu" userId="aac0c60d-8160-4da0-abef-43bda3d2e492" providerId="ADAL" clId="{F06AB70C-563E-4EED-8B70-5BC13D4CF02E}" dt="2019-12-21T16:37:04.524" v="1448" actId="1076"/>
        <pc:sldMkLst>
          <pc:docMk/>
          <pc:sldMk cId="3372907372" sldId="265"/>
        </pc:sldMkLst>
        <pc:spChg chg="del mod">
          <ac:chgData name="Ching-Cheng Hsu" userId="aac0c60d-8160-4da0-abef-43bda3d2e492" providerId="ADAL" clId="{F06AB70C-563E-4EED-8B70-5BC13D4CF02E}" dt="2019-12-21T16:30:37.331" v="1417"/>
          <ac:spMkLst>
            <pc:docMk/>
            <pc:sldMk cId="3372907372" sldId="265"/>
            <ac:spMk id="4" creationId="{448BCCFB-F89D-4C1A-9168-8A948452577F}"/>
          </ac:spMkLst>
        </pc:spChg>
        <pc:spChg chg="mod">
          <ac:chgData name="Ching-Cheng Hsu" userId="aac0c60d-8160-4da0-abef-43bda3d2e492" providerId="ADAL" clId="{F06AB70C-563E-4EED-8B70-5BC13D4CF02E}" dt="2019-12-21T16:24:51.438" v="1414" actId="20577"/>
          <ac:spMkLst>
            <pc:docMk/>
            <pc:sldMk cId="3372907372" sldId="265"/>
            <ac:spMk id="5" creationId="{5663A977-7FC5-429A-8DEC-81F2FA58C1FA}"/>
          </ac:spMkLst>
        </pc:spChg>
        <pc:spChg chg="add mod">
          <ac:chgData name="Ching-Cheng Hsu" userId="aac0c60d-8160-4da0-abef-43bda3d2e492" providerId="ADAL" clId="{F06AB70C-563E-4EED-8B70-5BC13D4CF02E}" dt="2019-12-21T16:37:04.524" v="1448" actId="1076"/>
          <ac:spMkLst>
            <pc:docMk/>
            <pc:sldMk cId="3372907372" sldId="265"/>
            <ac:spMk id="7" creationId="{906628BE-496D-4235-9CCB-2CC50AE8AF7D}"/>
          </ac:spMkLst>
        </pc:spChg>
        <pc:spChg chg="del">
          <ac:chgData name="Ching-Cheng Hsu" userId="aac0c60d-8160-4da0-abef-43bda3d2e492" providerId="ADAL" clId="{F06AB70C-563E-4EED-8B70-5BC13D4CF02E}" dt="2019-12-21T16:30:52.687" v="1421" actId="21"/>
          <ac:spMkLst>
            <pc:docMk/>
            <pc:sldMk cId="3372907372" sldId="265"/>
            <ac:spMk id="8" creationId="{B2BADE6A-E30E-4817-999F-8307BB2A5049}"/>
          </ac:spMkLst>
        </pc:spChg>
        <pc:spChg chg="add mod">
          <ac:chgData name="Ching-Cheng Hsu" userId="aac0c60d-8160-4da0-abef-43bda3d2e492" providerId="ADAL" clId="{F06AB70C-563E-4EED-8B70-5BC13D4CF02E}" dt="2019-12-21T16:36:57.919" v="1446" actId="14100"/>
          <ac:spMkLst>
            <pc:docMk/>
            <pc:sldMk cId="3372907372" sldId="265"/>
            <ac:spMk id="9" creationId="{9C6366CD-B4EB-45F1-8D88-222C45BE6E40}"/>
          </ac:spMkLst>
        </pc:spChg>
        <pc:picChg chg="add del mod">
          <ac:chgData name="Ching-Cheng Hsu" userId="aac0c60d-8160-4da0-abef-43bda3d2e492" providerId="ADAL" clId="{F06AB70C-563E-4EED-8B70-5BC13D4CF02E}" dt="2019-12-21T16:34:58.418" v="1428" actId="21"/>
          <ac:picMkLst>
            <pc:docMk/>
            <pc:sldMk cId="3372907372" sldId="265"/>
            <ac:picMk id="2" creationId="{B4880F54-21C5-47D0-9437-2C0E2EB0BF8D}"/>
          </ac:picMkLst>
        </pc:picChg>
        <pc:picChg chg="add mod">
          <ac:chgData name="Ching-Cheng Hsu" userId="aac0c60d-8160-4da0-abef-43bda3d2e492" providerId="ADAL" clId="{F06AB70C-563E-4EED-8B70-5BC13D4CF02E}" dt="2019-12-21T16:36:35.824" v="1441" actId="1076"/>
          <ac:picMkLst>
            <pc:docMk/>
            <pc:sldMk cId="3372907372" sldId="265"/>
            <ac:picMk id="3" creationId="{A1F4BBF7-CC49-4FDB-8833-5AA279799B82}"/>
          </ac:picMkLst>
        </pc:picChg>
      </pc:sldChg>
      <pc:sldChg chg="addSp delSp modSp mod">
        <pc:chgData name="Ching-Cheng Hsu" userId="aac0c60d-8160-4da0-abef-43bda3d2e492" providerId="ADAL" clId="{F06AB70C-563E-4EED-8B70-5BC13D4CF02E}" dt="2019-12-22T01:03:31.475" v="3559" actId="1076"/>
        <pc:sldMkLst>
          <pc:docMk/>
          <pc:sldMk cId="2643938694" sldId="266"/>
        </pc:sldMkLst>
        <pc:spChg chg="add del mod">
          <ac:chgData name="Ching-Cheng Hsu" userId="aac0c60d-8160-4da0-abef-43bda3d2e492" providerId="ADAL" clId="{F06AB70C-563E-4EED-8B70-5BC13D4CF02E}" dt="2019-12-22T01:01:58.611" v="3527" actId="21"/>
          <ac:spMkLst>
            <pc:docMk/>
            <pc:sldMk cId="2643938694" sldId="266"/>
            <ac:spMk id="2" creationId="{FBF2D36E-751F-487C-8C2A-E9230144E85B}"/>
          </ac:spMkLst>
        </pc:spChg>
        <pc:spChg chg="add mod">
          <ac:chgData name="Ching-Cheng Hsu" userId="aac0c60d-8160-4da0-abef-43bda3d2e492" providerId="ADAL" clId="{F06AB70C-563E-4EED-8B70-5BC13D4CF02E}" dt="2019-12-22T01:02:39.754" v="3538" actId="1076"/>
          <ac:spMkLst>
            <pc:docMk/>
            <pc:sldMk cId="2643938694" sldId="266"/>
            <ac:spMk id="3" creationId="{89963EC6-9A60-4517-9D4D-D0CE96243DC1}"/>
          </ac:spMkLst>
        </pc:spChg>
        <pc:spChg chg="mod">
          <ac:chgData name="Ching-Cheng Hsu" userId="aac0c60d-8160-4da0-abef-43bda3d2e492" providerId="ADAL" clId="{F06AB70C-563E-4EED-8B70-5BC13D4CF02E}" dt="2019-12-22T00:52:12.754" v="3343" actId="20577"/>
          <ac:spMkLst>
            <pc:docMk/>
            <pc:sldMk cId="2643938694" sldId="266"/>
            <ac:spMk id="7" creationId="{73332673-F43F-49A8-AF9E-0805B8AD2492}"/>
          </ac:spMkLst>
        </pc:spChg>
        <pc:spChg chg="add mod">
          <ac:chgData name="Ching-Cheng Hsu" userId="aac0c60d-8160-4da0-abef-43bda3d2e492" providerId="ADAL" clId="{F06AB70C-563E-4EED-8B70-5BC13D4CF02E}" dt="2019-12-22T01:02:30.479" v="3536" actId="207"/>
          <ac:spMkLst>
            <pc:docMk/>
            <pc:sldMk cId="2643938694" sldId="266"/>
            <ac:spMk id="8" creationId="{05E756A9-341F-4FB1-A545-A2ADDD3230DF}"/>
          </ac:spMkLst>
        </pc:spChg>
        <pc:spChg chg="add mod">
          <ac:chgData name="Ching-Cheng Hsu" userId="aac0c60d-8160-4da0-abef-43bda3d2e492" providerId="ADAL" clId="{F06AB70C-563E-4EED-8B70-5BC13D4CF02E}" dt="2019-12-22T01:03:31.475" v="3559" actId="1076"/>
          <ac:spMkLst>
            <pc:docMk/>
            <pc:sldMk cId="2643938694" sldId="266"/>
            <ac:spMk id="9" creationId="{056F041C-B39F-4AE8-AED9-49B8ED5837D7}"/>
          </ac:spMkLst>
        </pc:spChg>
        <pc:spChg chg="add del mod">
          <ac:chgData name="Ching-Cheng Hsu" userId="aac0c60d-8160-4da0-abef-43bda3d2e492" providerId="ADAL" clId="{F06AB70C-563E-4EED-8B70-5BC13D4CF02E}" dt="2019-12-22T01:02:09.098" v="3530" actId="21"/>
          <ac:spMkLst>
            <pc:docMk/>
            <pc:sldMk cId="2643938694" sldId="266"/>
            <ac:spMk id="10" creationId="{38E22BEA-9FC3-48F6-BE7F-064B6DFF764F}"/>
          </ac:spMkLst>
        </pc:spChg>
        <pc:spChg chg="add mod">
          <ac:chgData name="Ching-Cheng Hsu" userId="aac0c60d-8160-4da0-abef-43bda3d2e492" providerId="ADAL" clId="{F06AB70C-563E-4EED-8B70-5BC13D4CF02E}" dt="2019-12-22T01:03:20.301" v="3558" actId="207"/>
          <ac:spMkLst>
            <pc:docMk/>
            <pc:sldMk cId="2643938694" sldId="266"/>
            <ac:spMk id="11" creationId="{D155D0DA-F558-44F4-BB8B-865A771B1CD0}"/>
          </ac:spMkLst>
        </pc:spChg>
        <pc:spChg chg="add">
          <ac:chgData name="Ching-Cheng Hsu" userId="aac0c60d-8160-4da0-abef-43bda3d2e492" providerId="ADAL" clId="{F06AB70C-563E-4EED-8B70-5BC13D4CF02E}" dt="2019-12-22T01:02:16.242" v="3533"/>
          <ac:spMkLst>
            <pc:docMk/>
            <pc:sldMk cId="2643938694" sldId="266"/>
            <ac:spMk id="12" creationId="{4AC8444D-A1C1-42CD-8FA0-CFEC24BCF465}"/>
          </ac:spMkLst>
        </pc:spChg>
        <pc:picChg chg="del">
          <ac:chgData name="Ching-Cheng Hsu" userId="aac0c60d-8160-4da0-abef-43bda3d2e492" providerId="ADAL" clId="{F06AB70C-563E-4EED-8B70-5BC13D4CF02E}" dt="2019-12-21T15:32:42.066" v="544" actId="21"/>
          <ac:picMkLst>
            <pc:docMk/>
            <pc:sldMk cId="2643938694" sldId="266"/>
            <ac:picMk id="6" creationId="{0AF85579-DAB5-481F-881B-C193A6B1212A}"/>
          </ac:picMkLst>
        </pc:picChg>
        <pc:picChg chg="del mod">
          <ac:chgData name="Ching-Cheng Hsu" userId="aac0c60d-8160-4da0-abef-43bda3d2e492" providerId="ADAL" clId="{F06AB70C-563E-4EED-8B70-5BC13D4CF02E}" dt="2019-12-21T15:32:38.574" v="543" actId="21"/>
          <ac:picMkLst>
            <pc:docMk/>
            <pc:sldMk cId="2643938694" sldId="266"/>
            <ac:picMk id="3074" creationId="{B3470E41-6828-4111-8765-529FE1EA3F00}"/>
          </ac:picMkLst>
        </pc:picChg>
      </pc:sldChg>
      <pc:sldChg chg="del">
        <pc:chgData name="Ching-Cheng Hsu" userId="aac0c60d-8160-4da0-abef-43bda3d2e492" providerId="ADAL" clId="{F06AB70C-563E-4EED-8B70-5BC13D4CF02E}" dt="2019-12-22T07:31:30.686" v="3731" actId="2696"/>
        <pc:sldMkLst>
          <pc:docMk/>
          <pc:sldMk cId="2588857751" sldId="267"/>
        </pc:sldMkLst>
      </pc:sldChg>
      <pc:sldChg chg="addSp del">
        <pc:chgData name="Ching-Cheng Hsu" userId="aac0c60d-8160-4da0-abef-43bda3d2e492" providerId="ADAL" clId="{F06AB70C-563E-4EED-8B70-5BC13D4CF02E}" dt="2019-12-22T07:31:34.342" v="3732" actId="2696"/>
        <pc:sldMkLst>
          <pc:docMk/>
          <pc:sldMk cId="452127638" sldId="269"/>
        </pc:sldMkLst>
        <pc:picChg chg="add">
          <ac:chgData name="Ching-Cheng Hsu" userId="aac0c60d-8160-4da0-abef-43bda3d2e492" providerId="ADAL" clId="{F06AB70C-563E-4EED-8B70-5BC13D4CF02E}" dt="2019-12-22T00:25:43.192" v="2614"/>
          <ac:picMkLst>
            <pc:docMk/>
            <pc:sldMk cId="452127638" sldId="269"/>
            <ac:picMk id="7" creationId="{4FA4E88C-4C88-4846-A074-572488C4E536}"/>
          </ac:picMkLst>
        </pc:picChg>
      </pc:sldChg>
      <pc:sldChg chg="del">
        <pc:chgData name="Ching-Cheng Hsu" userId="aac0c60d-8160-4da0-abef-43bda3d2e492" providerId="ADAL" clId="{F06AB70C-563E-4EED-8B70-5BC13D4CF02E}" dt="2019-12-22T07:31:39.589" v="3733" actId="2696"/>
        <pc:sldMkLst>
          <pc:docMk/>
          <pc:sldMk cId="724664588" sldId="270"/>
        </pc:sldMkLst>
      </pc:sldChg>
      <pc:sldChg chg="addSp modSp mod">
        <pc:chgData name="Ching-Cheng Hsu" userId="aac0c60d-8160-4da0-abef-43bda3d2e492" providerId="ADAL" clId="{F06AB70C-563E-4EED-8B70-5BC13D4CF02E}" dt="2019-12-22T00:05:16.960" v="1952" actId="1076"/>
        <pc:sldMkLst>
          <pc:docMk/>
          <pc:sldMk cId="271103348" sldId="271"/>
        </pc:sldMkLst>
        <pc:spChg chg="add mod">
          <ac:chgData name="Ching-Cheng Hsu" userId="aac0c60d-8160-4da0-abef-43bda3d2e492" providerId="ADAL" clId="{F06AB70C-563E-4EED-8B70-5BC13D4CF02E}" dt="2019-12-22T00:01:55.138" v="1716" actId="14100"/>
          <ac:spMkLst>
            <pc:docMk/>
            <pc:sldMk cId="271103348" sldId="271"/>
            <ac:spMk id="2" creationId="{B6466019-1157-4ED9-8CF5-14053381D7EC}"/>
          </ac:spMkLst>
        </pc:spChg>
        <pc:spChg chg="add mod">
          <ac:chgData name="Ching-Cheng Hsu" userId="aac0c60d-8160-4da0-abef-43bda3d2e492" providerId="ADAL" clId="{F06AB70C-563E-4EED-8B70-5BC13D4CF02E}" dt="2019-12-22T00:05:16.960" v="1952" actId="1076"/>
          <ac:spMkLst>
            <pc:docMk/>
            <pc:sldMk cId="271103348" sldId="271"/>
            <ac:spMk id="3" creationId="{7AC2AE98-1BA5-4322-9BBE-AB87439EBC17}"/>
          </ac:spMkLst>
        </pc:spChg>
        <pc:spChg chg="mod">
          <ac:chgData name="Ching-Cheng Hsu" userId="aac0c60d-8160-4da0-abef-43bda3d2e492" providerId="ADAL" clId="{F06AB70C-563E-4EED-8B70-5BC13D4CF02E}" dt="2019-12-21T15:40:51.497" v="926" actId="20577"/>
          <ac:spMkLst>
            <pc:docMk/>
            <pc:sldMk cId="271103348" sldId="271"/>
            <ac:spMk id="8" creationId="{05E756A9-341F-4FB1-A545-A2ADDD3230DF}"/>
          </ac:spMkLst>
        </pc:spChg>
      </pc:sldChg>
      <pc:sldChg chg="new del">
        <pc:chgData name="Ching-Cheng Hsu" userId="aac0c60d-8160-4da0-abef-43bda3d2e492" providerId="ADAL" clId="{F06AB70C-563E-4EED-8B70-5BC13D4CF02E}" dt="2019-12-21T15:38:11.858" v="657" actId="2696"/>
        <pc:sldMkLst>
          <pc:docMk/>
          <pc:sldMk cId="1632759243" sldId="271"/>
        </pc:sldMkLst>
      </pc:sldChg>
      <pc:sldChg chg="addSp delSp modSp mod">
        <pc:chgData name="Ching-Cheng Hsu" userId="aac0c60d-8160-4da0-abef-43bda3d2e492" providerId="ADAL" clId="{F06AB70C-563E-4EED-8B70-5BC13D4CF02E}" dt="2019-12-22T09:13:38.406" v="4339" actId="207"/>
        <pc:sldMkLst>
          <pc:docMk/>
          <pc:sldMk cId="1994030792" sldId="272"/>
        </pc:sldMkLst>
        <pc:spChg chg="mod">
          <ac:chgData name="Ching-Cheng Hsu" userId="aac0c60d-8160-4da0-abef-43bda3d2e492" providerId="ADAL" clId="{F06AB70C-563E-4EED-8B70-5BC13D4CF02E}" dt="2019-12-22T09:13:38.406" v="4339" actId="207"/>
          <ac:spMkLst>
            <pc:docMk/>
            <pc:sldMk cId="1994030792" sldId="272"/>
            <ac:spMk id="2" creationId="{B6466019-1157-4ED9-8CF5-14053381D7EC}"/>
          </ac:spMkLst>
        </pc:spChg>
        <pc:spChg chg="del mod">
          <ac:chgData name="Ching-Cheng Hsu" userId="aac0c60d-8160-4da0-abef-43bda3d2e492" providerId="ADAL" clId="{F06AB70C-563E-4EED-8B70-5BC13D4CF02E}" dt="2019-12-21T16:02:28.533" v="1116"/>
          <ac:spMkLst>
            <pc:docMk/>
            <pc:sldMk cId="1994030792" sldId="272"/>
            <ac:spMk id="8" creationId="{05E756A9-341F-4FB1-A545-A2ADDD3230DF}"/>
          </ac:spMkLst>
        </pc:spChg>
        <pc:picChg chg="add del mod">
          <ac:chgData name="Ching-Cheng Hsu" userId="aac0c60d-8160-4da0-abef-43bda3d2e492" providerId="ADAL" clId="{F06AB70C-563E-4EED-8B70-5BC13D4CF02E}" dt="2019-12-22T00:25:36.772" v="2613" actId="21"/>
          <ac:picMkLst>
            <pc:docMk/>
            <pc:sldMk cId="1994030792" sldId="272"/>
            <ac:picMk id="3" creationId="{28C77DE8-8F30-4D32-BB4C-72AC98C0B24C}"/>
          </ac:picMkLst>
        </pc:picChg>
      </pc:sldChg>
      <pc:sldChg chg="addSp delSp modSp mod">
        <pc:chgData name="Ching-Cheng Hsu" userId="aac0c60d-8160-4da0-abef-43bda3d2e492" providerId="ADAL" clId="{F06AB70C-563E-4EED-8B70-5BC13D4CF02E}" dt="2019-12-22T09:14:45.472" v="4343" actId="255"/>
        <pc:sldMkLst>
          <pc:docMk/>
          <pc:sldMk cId="1060133453" sldId="273"/>
        </pc:sldMkLst>
        <pc:spChg chg="mod">
          <ac:chgData name="Ching-Cheng Hsu" userId="aac0c60d-8160-4da0-abef-43bda3d2e492" providerId="ADAL" clId="{F06AB70C-563E-4EED-8B70-5BC13D4CF02E}" dt="2019-12-22T00:29:12.375" v="2895" actId="20577"/>
          <ac:spMkLst>
            <pc:docMk/>
            <pc:sldMk cId="1060133453" sldId="273"/>
            <ac:spMk id="2" creationId="{B6466019-1157-4ED9-8CF5-14053381D7EC}"/>
          </ac:spMkLst>
        </pc:spChg>
        <pc:spChg chg="add mod">
          <ac:chgData name="Ching-Cheng Hsu" userId="aac0c60d-8160-4da0-abef-43bda3d2e492" providerId="ADAL" clId="{F06AB70C-563E-4EED-8B70-5BC13D4CF02E}" dt="2019-12-22T09:14:45.472" v="4343" actId="255"/>
          <ac:spMkLst>
            <pc:docMk/>
            <pc:sldMk cId="1060133453" sldId="273"/>
            <ac:spMk id="3" creationId="{D254FAD4-02FE-437B-B993-B4BFA016A226}"/>
          </ac:spMkLst>
        </pc:spChg>
        <pc:spChg chg="del mod">
          <ac:chgData name="Ching-Cheng Hsu" userId="aac0c60d-8160-4da0-abef-43bda3d2e492" providerId="ADAL" clId="{F06AB70C-563E-4EED-8B70-5BC13D4CF02E}" dt="2019-12-21T16:09:26.772" v="1155"/>
          <ac:spMkLst>
            <pc:docMk/>
            <pc:sldMk cId="1060133453" sldId="273"/>
            <ac:spMk id="8" creationId="{05E756A9-341F-4FB1-A545-A2ADDD3230DF}"/>
          </ac:spMkLst>
        </pc:spChg>
      </pc:sldChg>
      <pc:sldChg chg="new del">
        <pc:chgData name="Ching-Cheng Hsu" userId="aac0c60d-8160-4da0-abef-43bda3d2e492" providerId="ADAL" clId="{F06AB70C-563E-4EED-8B70-5BC13D4CF02E}" dt="2019-12-21T16:02:46.197" v="1119" actId="2696"/>
        <pc:sldMkLst>
          <pc:docMk/>
          <pc:sldMk cId="1786035616" sldId="273"/>
        </pc:sldMkLst>
      </pc:sldChg>
      <pc:sldChg chg="modSp mod">
        <pc:chgData name="Ching-Cheng Hsu" userId="aac0c60d-8160-4da0-abef-43bda3d2e492" providerId="ADAL" clId="{F06AB70C-563E-4EED-8B70-5BC13D4CF02E}" dt="2019-12-22T21:08:11.759" v="4780" actId="20577"/>
        <pc:sldMkLst>
          <pc:docMk/>
          <pc:sldMk cId="2085372338" sldId="274"/>
        </pc:sldMkLst>
        <pc:spChg chg="mod">
          <ac:chgData name="Ching-Cheng Hsu" userId="aac0c60d-8160-4da0-abef-43bda3d2e492" providerId="ADAL" clId="{F06AB70C-563E-4EED-8B70-5BC13D4CF02E}" dt="2019-12-22T21:08:11.759" v="4780" actId="20577"/>
          <ac:spMkLst>
            <pc:docMk/>
            <pc:sldMk cId="2085372338" sldId="274"/>
            <ac:spMk id="2" creationId="{B6466019-1157-4ED9-8CF5-14053381D7EC}"/>
          </ac:spMkLst>
        </pc:spChg>
      </pc:sldChg>
      <pc:sldChg chg="addSp delSp modSp del mod">
        <pc:chgData name="Ching-Cheng Hsu" userId="aac0c60d-8160-4da0-abef-43bda3d2e492" providerId="ADAL" clId="{F06AB70C-563E-4EED-8B70-5BC13D4CF02E}" dt="2019-12-22T09:29:20.153" v="4488" actId="2696"/>
        <pc:sldMkLst>
          <pc:docMk/>
          <pc:sldMk cId="111419331" sldId="275"/>
        </pc:sldMkLst>
        <pc:spChg chg="mod">
          <ac:chgData name="Ching-Cheng Hsu" userId="aac0c60d-8160-4da0-abef-43bda3d2e492" providerId="ADAL" clId="{F06AB70C-563E-4EED-8B70-5BC13D4CF02E}" dt="2019-12-21T16:17:53.424" v="1285" actId="20577"/>
          <ac:spMkLst>
            <pc:docMk/>
            <pc:sldMk cId="111419331" sldId="275"/>
            <ac:spMk id="2" creationId="{B6466019-1157-4ED9-8CF5-14053381D7EC}"/>
          </ac:spMkLst>
        </pc:spChg>
        <pc:picChg chg="add del mod">
          <ac:chgData name="Ching-Cheng Hsu" userId="aac0c60d-8160-4da0-abef-43bda3d2e492" providerId="ADAL" clId="{F06AB70C-563E-4EED-8B70-5BC13D4CF02E}" dt="2019-12-22T09:29:05.541" v="4487" actId="21"/>
          <ac:picMkLst>
            <pc:docMk/>
            <pc:sldMk cId="111419331" sldId="275"/>
            <ac:picMk id="3" creationId="{AA69C7E0-B69A-4EF2-89A3-8D359EDEB9B2}"/>
          </ac:picMkLst>
        </pc:picChg>
      </pc:sldChg>
      <pc:sldChg chg="del">
        <pc:chgData name="Ching-Cheng Hsu" userId="aac0c60d-8160-4da0-abef-43bda3d2e492" providerId="ADAL" clId="{F06AB70C-563E-4EED-8B70-5BC13D4CF02E}" dt="2019-12-22T05:57:00.625" v="3728" actId="2696"/>
        <pc:sldMkLst>
          <pc:docMk/>
          <pc:sldMk cId="421662519" sldId="276"/>
        </pc:sldMkLst>
      </pc:sldChg>
      <pc:sldChg chg="modSp mod">
        <pc:chgData name="Ching-Cheng Hsu" userId="aac0c60d-8160-4da0-abef-43bda3d2e492" providerId="ADAL" clId="{F06AB70C-563E-4EED-8B70-5BC13D4CF02E}" dt="2019-12-22T00:37:00.455" v="3024" actId="20577"/>
        <pc:sldMkLst>
          <pc:docMk/>
          <pc:sldMk cId="2409101656" sldId="277"/>
        </pc:sldMkLst>
        <pc:spChg chg="mod">
          <ac:chgData name="Ching-Cheng Hsu" userId="aac0c60d-8160-4da0-abef-43bda3d2e492" providerId="ADAL" clId="{F06AB70C-563E-4EED-8B70-5BC13D4CF02E}" dt="2019-12-22T00:37:00.455" v="3024" actId="20577"/>
          <ac:spMkLst>
            <pc:docMk/>
            <pc:sldMk cId="2409101656" sldId="277"/>
            <ac:spMk id="2" creationId="{B6466019-1157-4ED9-8CF5-14053381D7EC}"/>
          </ac:spMkLst>
        </pc:spChg>
      </pc:sldChg>
      <pc:sldChg chg="delSp modSp del mod">
        <pc:chgData name="Ching-Cheng Hsu" userId="aac0c60d-8160-4da0-abef-43bda3d2e492" providerId="ADAL" clId="{F06AB70C-563E-4EED-8B70-5BC13D4CF02E}" dt="2019-12-22T00:30:59.526" v="2896" actId="2696"/>
        <pc:sldMkLst>
          <pc:docMk/>
          <pc:sldMk cId="4074803778" sldId="277"/>
        </pc:sldMkLst>
        <pc:spChg chg="mod">
          <ac:chgData name="Ching-Cheng Hsu" userId="aac0c60d-8160-4da0-abef-43bda3d2e492" providerId="ADAL" clId="{F06AB70C-563E-4EED-8B70-5BC13D4CF02E}" dt="2019-12-21T16:23:19.242" v="1369" actId="20577"/>
          <ac:spMkLst>
            <pc:docMk/>
            <pc:sldMk cId="4074803778" sldId="277"/>
            <ac:spMk id="2" creationId="{B6466019-1157-4ED9-8CF5-14053381D7EC}"/>
          </ac:spMkLst>
        </pc:spChg>
        <pc:picChg chg="del">
          <ac:chgData name="Ching-Cheng Hsu" userId="aac0c60d-8160-4da0-abef-43bda3d2e492" providerId="ADAL" clId="{F06AB70C-563E-4EED-8B70-5BC13D4CF02E}" dt="2019-12-21T16:23:23.095" v="1370" actId="21"/>
          <ac:picMkLst>
            <pc:docMk/>
            <pc:sldMk cId="4074803778" sldId="277"/>
            <ac:picMk id="3" creationId="{AA69C7E0-B69A-4EF2-89A3-8D359EDEB9B2}"/>
          </ac:picMkLst>
        </pc:picChg>
      </pc:sldChg>
      <pc:sldChg chg="addSp delSp modSp mod">
        <pc:chgData name="Ching-Cheng Hsu" userId="aac0c60d-8160-4da0-abef-43bda3d2e492" providerId="ADAL" clId="{F06AB70C-563E-4EED-8B70-5BC13D4CF02E}" dt="2019-12-22T08:55:17.602" v="4084" actId="20577"/>
        <pc:sldMkLst>
          <pc:docMk/>
          <pc:sldMk cId="1999939056" sldId="278"/>
        </pc:sldMkLst>
        <pc:spChg chg="del">
          <ac:chgData name="Ching-Cheng Hsu" userId="aac0c60d-8160-4da0-abef-43bda3d2e492" providerId="ADAL" clId="{F06AB70C-563E-4EED-8B70-5BC13D4CF02E}" dt="2019-12-21T18:56:05.410" v="1449" actId="21"/>
          <ac:spMkLst>
            <pc:docMk/>
            <pc:sldMk cId="1999939056" sldId="278"/>
            <ac:spMk id="2" creationId="{B6466019-1157-4ED9-8CF5-14053381D7EC}"/>
          </ac:spMkLst>
        </pc:spChg>
        <pc:spChg chg="add mod">
          <ac:chgData name="Ching-Cheng Hsu" userId="aac0c60d-8160-4da0-abef-43bda3d2e492" providerId="ADAL" clId="{F06AB70C-563E-4EED-8B70-5BC13D4CF02E}" dt="2019-12-22T01:08:38.532" v="3656" actId="20577"/>
          <ac:spMkLst>
            <pc:docMk/>
            <pc:sldMk cId="1999939056" sldId="278"/>
            <ac:spMk id="4" creationId="{52CCD394-4B98-4C7C-8A72-E5A1F8569889}"/>
          </ac:spMkLst>
        </pc:spChg>
        <pc:spChg chg="add del">
          <ac:chgData name="Ching-Cheng Hsu" userId="aac0c60d-8160-4da0-abef-43bda3d2e492" providerId="ADAL" clId="{F06AB70C-563E-4EED-8B70-5BC13D4CF02E}" dt="2019-12-21T18:56:18.572" v="1451" actId="21"/>
          <ac:spMkLst>
            <pc:docMk/>
            <pc:sldMk cId="1999939056" sldId="278"/>
            <ac:spMk id="6" creationId="{BCC4FF4C-4C54-43F7-8E03-59A3622F11B4}"/>
          </ac:spMkLst>
        </pc:spChg>
        <pc:spChg chg="mod">
          <ac:chgData name="Ching-Cheng Hsu" userId="aac0c60d-8160-4da0-abef-43bda3d2e492" providerId="ADAL" clId="{F06AB70C-563E-4EED-8B70-5BC13D4CF02E}" dt="2019-12-21T23:59:42.503" v="1578" actId="1076"/>
          <ac:spMkLst>
            <pc:docMk/>
            <pc:sldMk cId="1999939056" sldId="278"/>
            <ac:spMk id="7" creationId="{73332673-F43F-49A8-AF9E-0805B8AD2492}"/>
          </ac:spMkLst>
        </pc:spChg>
        <pc:spChg chg="del">
          <ac:chgData name="Ching-Cheng Hsu" userId="aac0c60d-8160-4da0-abef-43bda3d2e492" providerId="ADAL" clId="{F06AB70C-563E-4EED-8B70-5BC13D4CF02E}" dt="2019-12-21T18:56:23.032" v="1452" actId="21"/>
          <ac:spMkLst>
            <pc:docMk/>
            <pc:sldMk cId="1999939056" sldId="278"/>
            <ac:spMk id="8" creationId="{05E756A9-341F-4FB1-A545-A2ADDD3230DF}"/>
          </ac:spMkLst>
        </pc:spChg>
        <pc:spChg chg="add del mod">
          <ac:chgData name="Ching-Cheng Hsu" userId="aac0c60d-8160-4da0-abef-43bda3d2e492" providerId="ADAL" clId="{F06AB70C-563E-4EED-8B70-5BC13D4CF02E}" dt="2019-12-22T01:05:42.046" v="3570" actId="21"/>
          <ac:spMkLst>
            <pc:docMk/>
            <pc:sldMk cId="1999939056" sldId="278"/>
            <ac:spMk id="9" creationId="{22335E6A-C5D3-41AE-B92F-29D4B23B5166}"/>
          </ac:spMkLst>
        </pc:spChg>
        <pc:spChg chg="add mod">
          <ac:chgData name="Ching-Cheng Hsu" userId="aac0c60d-8160-4da0-abef-43bda3d2e492" providerId="ADAL" clId="{F06AB70C-563E-4EED-8B70-5BC13D4CF02E}" dt="2019-12-22T01:09:09.843" v="3666" actId="20577"/>
          <ac:spMkLst>
            <pc:docMk/>
            <pc:sldMk cId="1999939056" sldId="278"/>
            <ac:spMk id="10" creationId="{D3BB498F-EA24-41B1-9857-88343CABC072}"/>
          </ac:spMkLst>
        </pc:spChg>
        <pc:spChg chg="add del mod">
          <ac:chgData name="Ching-Cheng Hsu" userId="aac0c60d-8160-4da0-abef-43bda3d2e492" providerId="ADAL" clId="{F06AB70C-563E-4EED-8B70-5BC13D4CF02E}" dt="2019-12-22T01:10:05.228" v="3723"/>
          <ac:spMkLst>
            <pc:docMk/>
            <pc:sldMk cId="1999939056" sldId="278"/>
            <ac:spMk id="11" creationId="{D02C706C-7E96-4373-BA0B-52FE4A662CC1}"/>
          </ac:spMkLst>
        </pc:spChg>
        <pc:spChg chg="add mod">
          <ac:chgData name="Ching-Cheng Hsu" userId="aac0c60d-8160-4da0-abef-43bda3d2e492" providerId="ADAL" clId="{F06AB70C-563E-4EED-8B70-5BC13D4CF02E}" dt="2019-12-22T01:06:23.432" v="3595" actId="20577"/>
          <ac:spMkLst>
            <pc:docMk/>
            <pc:sldMk cId="1999939056" sldId="278"/>
            <ac:spMk id="12" creationId="{4B603BA8-4CCF-42AC-A6F6-89566C4DF392}"/>
          </ac:spMkLst>
        </pc:spChg>
        <pc:spChg chg="add del mod">
          <ac:chgData name="Ching-Cheng Hsu" userId="aac0c60d-8160-4da0-abef-43bda3d2e492" providerId="ADAL" clId="{F06AB70C-563E-4EED-8B70-5BC13D4CF02E}" dt="2019-12-22T01:07:45.206" v="3629" actId="21"/>
          <ac:spMkLst>
            <pc:docMk/>
            <pc:sldMk cId="1999939056" sldId="278"/>
            <ac:spMk id="13" creationId="{D229C2DC-968E-435A-B16C-0E56C651C4E0}"/>
          </ac:spMkLst>
        </pc:spChg>
        <pc:spChg chg="add mod">
          <ac:chgData name="Ching-Cheng Hsu" userId="aac0c60d-8160-4da0-abef-43bda3d2e492" providerId="ADAL" clId="{F06AB70C-563E-4EED-8B70-5BC13D4CF02E}" dt="2019-12-22T08:55:17.602" v="4084" actId="20577"/>
          <ac:spMkLst>
            <pc:docMk/>
            <pc:sldMk cId="1999939056" sldId="278"/>
            <ac:spMk id="14" creationId="{B2F816EA-E4DD-4394-B745-BCEE55C0BE84}"/>
          </ac:spMkLst>
        </pc:spChg>
        <pc:spChg chg="add mod">
          <ac:chgData name="Ching-Cheng Hsu" userId="aac0c60d-8160-4da0-abef-43bda3d2e492" providerId="ADAL" clId="{F06AB70C-563E-4EED-8B70-5BC13D4CF02E}" dt="2019-12-22T01:05:48.924" v="3572" actId="1076"/>
          <ac:spMkLst>
            <pc:docMk/>
            <pc:sldMk cId="1999939056" sldId="278"/>
            <ac:spMk id="18" creationId="{EA42CFB9-45E1-477F-80D5-36C30AFF50D4}"/>
          </ac:spMkLst>
        </pc:spChg>
        <pc:spChg chg="add mod">
          <ac:chgData name="Ching-Cheng Hsu" userId="aac0c60d-8160-4da0-abef-43bda3d2e492" providerId="ADAL" clId="{F06AB70C-563E-4EED-8B70-5BC13D4CF02E}" dt="2019-12-22T01:09:59.113" v="3706" actId="20577"/>
          <ac:spMkLst>
            <pc:docMk/>
            <pc:sldMk cId="1999939056" sldId="278"/>
            <ac:spMk id="22" creationId="{5E1D001B-8EFE-4385-86E2-EFDFF5C1F372}"/>
          </ac:spMkLst>
        </pc:spChg>
        <pc:spChg chg="add mod">
          <ac:chgData name="Ching-Cheng Hsu" userId="aac0c60d-8160-4da0-abef-43bda3d2e492" providerId="ADAL" clId="{F06AB70C-563E-4EED-8B70-5BC13D4CF02E}" dt="2019-12-22T01:08:14.057" v="3636" actId="1076"/>
          <ac:spMkLst>
            <pc:docMk/>
            <pc:sldMk cId="1999939056" sldId="278"/>
            <ac:spMk id="25" creationId="{957DBD91-DEE5-4F04-A094-487B305939AF}"/>
          </ac:spMkLst>
        </pc:spChg>
        <pc:spChg chg="add mod">
          <ac:chgData name="Ching-Cheng Hsu" userId="aac0c60d-8160-4da0-abef-43bda3d2e492" providerId="ADAL" clId="{F06AB70C-563E-4EED-8B70-5BC13D4CF02E}" dt="2019-12-22T01:08:34.574" v="3649" actId="20577"/>
          <ac:spMkLst>
            <pc:docMk/>
            <pc:sldMk cId="1999939056" sldId="278"/>
            <ac:spMk id="29" creationId="{83FC775F-80AF-45BE-B2EF-D1341A95C71D}"/>
          </ac:spMkLst>
        </pc:spChg>
        <pc:spChg chg="add mod">
          <ac:chgData name="Ching-Cheng Hsu" userId="aac0c60d-8160-4da0-abef-43bda3d2e492" providerId="ADAL" clId="{F06AB70C-563E-4EED-8B70-5BC13D4CF02E}" dt="2019-12-22T01:09:45.579" v="3686" actId="1076"/>
          <ac:spMkLst>
            <pc:docMk/>
            <pc:sldMk cId="1999939056" sldId="278"/>
            <ac:spMk id="32" creationId="{740C98FD-DF22-425B-AE3C-A6ADFECD6122}"/>
          </ac:spMkLst>
        </pc:spChg>
        <pc:picChg chg="add mod">
          <ac:chgData name="Ching-Cheng Hsu" userId="aac0c60d-8160-4da0-abef-43bda3d2e492" providerId="ADAL" clId="{F06AB70C-563E-4EED-8B70-5BC13D4CF02E}" dt="2019-12-21T18:56:39.940" v="1455" actId="1076"/>
          <ac:picMkLst>
            <pc:docMk/>
            <pc:sldMk cId="1999939056" sldId="278"/>
            <ac:picMk id="3" creationId="{B84BE838-D053-4EBC-B1B0-5C677699AE87}"/>
          </ac:picMkLst>
        </pc:picChg>
        <pc:cxnChg chg="add mod">
          <ac:chgData name="Ching-Cheng Hsu" userId="aac0c60d-8160-4da0-abef-43bda3d2e492" providerId="ADAL" clId="{F06AB70C-563E-4EED-8B70-5BC13D4CF02E}" dt="2019-12-22T01:06:40.738" v="3598" actId="14100"/>
          <ac:cxnSpMkLst>
            <pc:docMk/>
            <pc:sldMk cId="1999939056" sldId="278"/>
            <ac:cxnSpMk id="16" creationId="{C2E2E9D7-E2A6-4D99-B30D-C3A3AC41E9AC}"/>
          </ac:cxnSpMkLst>
        </pc:cxnChg>
        <pc:cxnChg chg="add">
          <ac:chgData name="Ching-Cheng Hsu" userId="aac0c60d-8160-4da0-abef-43bda3d2e492" providerId="ADAL" clId="{F06AB70C-563E-4EED-8B70-5BC13D4CF02E}" dt="2019-12-22T01:06:33.796" v="3596"/>
          <ac:cxnSpMkLst>
            <pc:docMk/>
            <pc:sldMk cId="1999939056" sldId="278"/>
            <ac:cxnSpMk id="20" creationId="{BC570A27-0861-43D6-B59E-C1939E4E1801}"/>
          </ac:cxnSpMkLst>
        </pc:cxnChg>
        <pc:cxnChg chg="add mod">
          <ac:chgData name="Ching-Cheng Hsu" userId="aac0c60d-8160-4da0-abef-43bda3d2e492" providerId="ADAL" clId="{F06AB70C-563E-4EED-8B70-5BC13D4CF02E}" dt="2019-12-22T01:09:47.896" v="3687" actId="1076"/>
          <ac:cxnSpMkLst>
            <pc:docMk/>
            <pc:sldMk cId="1999939056" sldId="278"/>
            <ac:cxnSpMk id="23" creationId="{3B891996-1B75-41E1-B116-8B8EFE7D30AD}"/>
          </ac:cxnSpMkLst>
        </pc:cxnChg>
        <pc:cxnChg chg="add mod">
          <ac:chgData name="Ching-Cheng Hsu" userId="aac0c60d-8160-4da0-abef-43bda3d2e492" providerId="ADAL" clId="{F06AB70C-563E-4EED-8B70-5BC13D4CF02E}" dt="2019-12-22T01:08:09.201" v="3635" actId="14100"/>
          <ac:cxnSpMkLst>
            <pc:docMk/>
            <pc:sldMk cId="1999939056" sldId="278"/>
            <ac:cxnSpMk id="26" creationId="{4357205B-2439-4CCF-8DE3-583922BA7C06}"/>
          </ac:cxnSpMkLst>
        </pc:cxnChg>
        <pc:cxnChg chg="add mod">
          <ac:chgData name="Ching-Cheng Hsu" userId="aac0c60d-8160-4da0-abef-43bda3d2e492" providerId="ADAL" clId="{F06AB70C-563E-4EED-8B70-5BC13D4CF02E}" dt="2019-12-22T01:08:54.666" v="3659" actId="14100"/>
          <ac:cxnSpMkLst>
            <pc:docMk/>
            <pc:sldMk cId="1999939056" sldId="278"/>
            <ac:cxnSpMk id="30" creationId="{44CCC8A2-983E-460F-A0A3-3165A8F8AB7A}"/>
          </ac:cxnSpMkLst>
        </pc:cxnChg>
        <pc:cxnChg chg="add mod">
          <ac:chgData name="Ching-Cheng Hsu" userId="aac0c60d-8160-4da0-abef-43bda3d2e492" providerId="ADAL" clId="{F06AB70C-563E-4EED-8B70-5BC13D4CF02E}" dt="2019-12-22T01:10:19.207" v="3726" actId="14100"/>
          <ac:cxnSpMkLst>
            <pc:docMk/>
            <pc:sldMk cId="1999939056" sldId="278"/>
            <ac:cxnSpMk id="33" creationId="{2E253605-4880-467C-A089-93D9D791DEC4}"/>
          </ac:cxnSpMkLst>
        </pc:cxnChg>
      </pc:sldChg>
      <pc:sldChg chg="delSp modSp mod">
        <pc:chgData name="Ching-Cheng Hsu" userId="aac0c60d-8160-4da0-abef-43bda3d2e492" providerId="ADAL" clId="{F06AB70C-563E-4EED-8B70-5BC13D4CF02E}" dt="2019-12-22T05:42:25.621" v="3727" actId="20577"/>
        <pc:sldMkLst>
          <pc:docMk/>
          <pc:sldMk cId="2591702567" sldId="279"/>
        </pc:sldMkLst>
        <pc:spChg chg="del mod">
          <ac:chgData name="Ching-Cheng Hsu" userId="aac0c60d-8160-4da0-abef-43bda3d2e492" providerId="ADAL" clId="{F06AB70C-563E-4EED-8B70-5BC13D4CF02E}" dt="2019-12-22T00:08:29.457" v="2030"/>
          <ac:spMkLst>
            <pc:docMk/>
            <pc:sldMk cId="2591702567" sldId="279"/>
            <ac:spMk id="2" creationId="{B6466019-1157-4ED9-8CF5-14053381D7EC}"/>
          </ac:spMkLst>
        </pc:spChg>
        <pc:spChg chg="mod">
          <ac:chgData name="Ching-Cheng Hsu" userId="aac0c60d-8160-4da0-abef-43bda3d2e492" providerId="ADAL" clId="{F06AB70C-563E-4EED-8B70-5BC13D4CF02E}" dt="2019-12-22T00:13:51.632" v="2235" actId="20577"/>
          <ac:spMkLst>
            <pc:docMk/>
            <pc:sldMk cId="2591702567" sldId="279"/>
            <ac:spMk id="3" creationId="{7AC2AE98-1BA5-4322-9BBE-AB87439EBC17}"/>
          </ac:spMkLst>
        </pc:spChg>
        <pc:spChg chg="mod">
          <ac:chgData name="Ching-Cheng Hsu" userId="aac0c60d-8160-4da0-abef-43bda3d2e492" providerId="ADAL" clId="{F06AB70C-563E-4EED-8B70-5BC13D4CF02E}" dt="2019-12-22T05:42:25.621" v="3727" actId="20577"/>
          <ac:spMkLst>
            <pc:docMk/>
            <pc:sldMk cId="2591702567" sldId="279"/>
            <ac:spMk id="7" creationId="{73332673-F43F-49A8-AF9E-0805B8AD2492}"/>
          </ac:spMkLst>
        </pc:spChg>
        <pc:spChg chg="mod">
          <ac:chgData name="Ching-Cheng Hsu" userId="aac0c60d-8160-4da0-abef-43bda3d2e492" providerId="ADAL" clId="{F06AB70C-563E-4EED-8B70-5BC13D4CF02E}" dt="2019-12-22T00:15:30.067" v="2385" actId="20577"/>
          <ac:spMkLst>
            <pc:docMk/>
            <pc:sldMk cId="2591702567" sldId="279"/>
            <ac:spMk id="8" creationId="{05E756A9-341F-4FB1-A545-A2ADDD3230DF}"/>
          </ac:spMkLst>
        </pc:spChg>
      </pc:sldChg>
      <pc:sldChg chg="addSp delSp modSp mod">
        <pc:chgData name="Ching-Cheng Hsu" userId="aac0c60d-8160-4da0-abef-43bda3d2e492" providerId="ADAL" clId="{F06AB70C-563E-4EED-8B70-5BC13D4CF02E}" dt="2019-12-22T08:57:04.024" v="4093" actId="1076"/>
        <pc:sldMkLst>
          <pc:docMk/>
          <pc:sldMk cId="1362924782" sldId="280"/>
        </pc:sldMkLst>
        <pc:spChg chg="mod">
          <ac:chgData name="Ching-Cheng Hsu" userId="aac0c60d-8160-4da0-abef-43bda3d2e492" providerId="ADAL" clId="{F06AB70C-563E-4EED-8B70-5BC13D4CF02E}" dt="2019-12-22T00:19:09.807" v="2388" actId="1076"/>
          <ac:spMkLst>
            <pc:docMk/>
            <pc:sldMk cId="1362924782" sldId="280"/>
            <ac:spMk id="3" creationId="{7AC2AE98-1BA5-4322-9BBE-AB87439EBC17}"/>
          </ac:spMkLst>
        </pc:spChg>
        <pc:spChg chg="add del mod">
          <ac:chgData name="Ching-Cheng Hsu" userId="aac0c60d-8160-4da0-abef-43bda3d2e492" providerId="ADAL" clId="{F06AB70C-563E-4EED-8B70-5BC13D4CF02E}" dt="2019-12-22T00:20:20.493" v="2571"/>
          <ac:spMkLst>
            <pc:docMk/>
            <pc:sldMk cId="1362924782" sldId="280"/>
            <ac:spMk id="4" creationId="{2C6218AD-9F45-4186-9C6E-1DEC0882CD7F}"/>
          </ac:spMkLst>
        </pc:spChg>
        <pc:spChg chg="add mod">
          <ac:chgData name="Ching-Cheng Hsu" userId="aac0c60d-8160-4da0-abef-43bda3d2e492" providerId="ADAL" clId="{F06AB70C-563E-4EED-8B70-5BC13D4CF02E}" dt="2019-12-22T08:56:42.951" v="4088" actId="1076"/>
          <ac:spMkLst>
            <pc:docMk/>
            <pc:sldMk cId="1362924782" sldId="280"/>
            <ac:spMk id="6" creationId="{CCEA14C2-9BE0-44D8-98F6-27C991F8B7A9}"/>
          </ac:spMkLst>
        </pc:spChg>
        <pc:spChg chg="mod">
          <ac:chgData name="Ching-Cheng Hsu" userId="aac0c60d-8160-4da0-abef-43bda3d2e492" providerId="ADAL" clId="{F06AB70C-563E-4EED-8B70-5BC13D4CF02E}" dt="2019-12-22T00:14:21.098" v="2239" actId="20577"/>
          <ac:spMkLst>
            <pc:docMk/>
            <pc:sldMk cId="1362924782" sldId="280"/>
            <ac:spMk id="7" creationId="{73332673-F43F-49A8-AF9E-0805B8AD2492}"/>
          </ac:spMkLst>
        </pc:spChg>
        <pc:spChg chg="mod">
          <ac:chgData name="Ching-Cheng Hsu" userId="aac0c60d-8160-4da0-abef-43bda3d2e492" providerId="ADAL" clId="{F06AB70C-563E-4EED-8B70-5BC13D4CF02E}" dt="2019-12-22T08:57:04.024" v="4093" actId="1076"/>
          <ac:spMkLst>
            <pc:docMk/>
            <pc:sldMk cId="1362924782" sldId="280"/>
            <ac:spMk id="8" creationId="{05E756A9-341F-4FB1-A545-A2ADDD3230DF}"/>
          </ac:spMkLst>
        </pc:spChg>
        <pc:spChg chg="add mod">
          <ac:chgData name="Ching-Cheng Hsu" userId="aac0c60d-8160-4da0-abef-43bda3d2e492" providerId="ADAL" clId="{F06AB70C-563E-4EED-8B70-5BC13D4CF02E}" dt="2019-12-22T08:57:03.215" v="4092" actId="1076"/>
          <ac:spMkLst>
            <pc:docMk/>
            <pc:sldMk cId="1362924782" sldId="280"/>
            <ac:spMk id="9" creationId="{99FCE4DE-8252-45E2-BBE8-E81BADC9FAFB}"/>
          </ac:spMkLst>
        </pc:spChg>
        <pc:picChg chg="add mod">
          <ac:chgData name="Ching-Cheng Hsu" userId="aac0c60d-8160-4da0-abef-43bda3d2e492" providerId="ADAL" clId="{F06AB70C-563E-4EED-8B70-5BC13D4CF02E}" dt="2019-12-22T08:56:58.472" v="4091" actId="1076"/>
          <ac:picMkLst>
            <pc:docMk/>
            <pc:sldMk cId="1362924782" sldId="280"/>
            <ac:picMk id="2" creationId="{9F1249FD-12E8-4537-A3A7-1A86EDD60EFB}"/>
          </ac:picMkLst>
        </pc:picChg>
      </pc:sldChg>
      <pc:sldChg chg="new del">
        <pc:chgData name="Ching-Cheng Hsu" userId="aac0c60d-8160-4da0-abef-43bda3d2e492" providerId="ADAL" clId="{F06AB70C-563E-4EED-8B70-5BC13D4CF02E}" dt="2019-12-22T00:40:01.912" v="3124" actId="2696"/>
        <pc:sldMkLst>
          <pc:docMk/>
          <pc:sldMk cId="1951034944" sldId="281"/>
        </pc:sldMkLst>
      </pc:sldChg>
      <pc:sldChg chg="addSp delSp modSp mod">
        <pc:chgData name="Ching-Cheng Hsu" userId="aac0c60d-8160-4da0-abef-43bda3d2e492" providerId="ADAL" clId="{F06AB70C-563E-4EED-8B70-5BC13D4CF02E}" dt="2019-12-22T05:57:36.391" v="3729" actId="1076"/>
        <pc:sldMkLst>
          <pc:docMk/>
          <pc:sldMk cId="2004352244" sldId="282"/>
        </pc:sldMkLst>
        <pc:spChg chg="mod">
          <ac:chgData name="Ching-Cheng Hsu" userId="aac0c60d-8160-4da0-abef-43bda3d2e492" providerId="ADAL" clId="{F06AB70C-563E-4EED-8B70-5BC13D4CF02E}" dt="2019-12-22T00:40:40.446" v="3192" actId="14100"/>
          <ac:spMkLst>
            <pc:docMk/>
            <pc:sldMk cId="2004352244" sldId="282"/>
            <ac:spMk id="5" creationId="{5663A977-7FC5-429A-8DEC-81F2FA58C1FA}"/>
          </ac:spMkLst>
        </pc:spChg>
        <pc:spChg chg="del mod">
          <ac:chgData name="Ching-Cheng Hsu" userId="aac0c60d-8160-4da0-abef-43bda3d2e492" providerId="ADAL" clId="{F06AB70C-563E-4EED-8B70-5BC13D4CF02E}" dt="2019-12-22T00:45:27.110" v="3196"/>
          <ac:spMkLst>
            <pc:docMk/>
            <pc:sldMk cId="2004352244" sldId="282"/>
            <ac:spMk id="7" creationId="{906628BE-496D-4235-9CCB-2CC50AE8AF7D}"/>
          </ac:spMkLst>
        </pc:spChg>
        <pc:spChg chg="del mod">
          <ac:chgData name="Ching-Cheng Hsu" userId="aac0c60d-8160-4da0-abef-43bda3d2e492" providerId="ADAL" clId="{F06AB70C-563E-4EED-8B70-5BC13D4CF02E}" dt="2019-12-22T00:45:27.109" v="3194"/>
          <ac:spMkLst>
            <pc:docMk/>
            <pc:sldMk cId="2004352244" sldId="282"/>
            <ac:spMk id="9" creationId="{9C6366CD-B4EB-45F1-8D88-222C45BE6E40}"/>
          </ac:spMkLst>
        </pc:spChg>
        <pc:picChg chg="add mod">
          <ac:chgData name="Ching-Cheng Hsu" userId="aac0c60d-8160-4da0-abef-43bda3d2e492" providerId="ADAL" clId="{F06AB70C-563E-4EED-8B70-5BC13D4CF02E}" dt="2019-12-22T05:57:36.391" v="3729" actId="1076"/>
          <ac:picMkLst>
            <pc:docMk/>
            <pc:sldMk cId="2004352244" sldId="282"/>
            <ac:picMk id="2" creationId="{AA6473DC-0D01-47D7-92A0-08B907A955D8}"/>
          </ac:picMkLst>
        </pc:picChg>
        <pc:picChg chg="del">
          <ac:chgData name="Ching-Cheng Hsu" userId="aac0c60d-8160-4da0-abef-43bda3d2e492" providerId="ADAL" clId="{F06AB70C-563E-4EED-8B70-5BC13D4CF02E}" dt="2019-12-22T00:40:08.799" v="3125" actId="21"/>
          <ac:picMkLst>
            <pc:docMk/>
            <pc:sldMk cId="2004352244" sldId="282"/>
            <ac:picMk id="3" creationId="{A1F4BBF7-CC49-4FDB-8833-5AA279799B82}"/>
          </ac:picMkLst>
        </pc:picChg>
      </pc:sldChg>
      <pc:sldChg chg="del">
        <pc:chgData name="Ching-Cheng Hsu" userId="aac0c60d-8160-4da0-abef-43bda3d2e492" providerId="ADAL" clId="{F06AB70C-563E-4EED-8B70-5BC13D4CF02E}" dt="2019-12-22T20:57:43.578" v="4740" actId="2696"/>
        <pc:sldMkLst>
          <pc:docMk/>
          <pc:sldMk cId="917210055" sldId="283"/>
        </pc:sldMkLst>
      </pc:sldChg>
      <pc:sldChg chg="new del">
        <pc:chgData name="Ching-Cheng Hsu" userId="aac0c60d-8160-4da0-abef-43bda3d2e492" providerId="ADAL" clId="{F06AB70C-563E-4EED-8B70-5BC13D4CF02E}" dt="2019-12-22T07:31:57.427" v="3735" actId="2696"/>
        <pc:sldMkLst>
          <pc:docMk/>
          <pc:sldMk cId="2504352330" sldId="283"/>
        </pc:sldMkLst>
      </pc:sldChg>
      <pc:sldChg chg="new del">
        <pc:chgData name="Ching-Cheng Hsu" userId="aac0c60d-8160-4da0-abef-43bda3d2e492" providerId="ADAL" clId="{F06AB70C-563E-4EED-8B70-5BC13D4CF02E}" dt="2019-12-22T08:33:10.709" v="3740" actId="2696"/>
        <pc:sldMkLst>
          <pc:docMk/>
          <pc:sldMk cId="1477095139" sldId="284"/>
        </pc:sldMkLst>
      </pc:sldChg>
      <pc:sldChg chg="addSp delSp modSp add mod ord modAnim">
        <pc:chgData name="Ching-Cheng Hsu" userId="aac0c60d-8160-4da0-abef-43bda3d2e492" providerId="ADAL" clId="{F06AB70C-563E-4EED-8B70-5BC13D4CF02E}" dt="2019-12-22T08:44:30.436" v="4011" actId="14100"/>
        <pc:sldMkLst>
          <pc:docMk/>
          <pc:sldMk cId="3699198787" sldId="285"/>
        </pc:sldMkLst>
        <pc:spChg chg="add mod">
          <ac:chgData name="Ching-Cheng Hsu" userId="aac0c60d-8160-4da0-abef-43bda3d2e492" providerId="ADAL" clId="{F06AB70C-563E-4EED-8B70-5BC13D4CF02E}" dt="2019-12-22T08:43:09.754" v="4002" actId="20577"/>
          <ac:spMkLst>
            <pc:docMk/>
            <pc:sldMk cId="3699198787" sldId="285"/>
            <ac:spMk id="3" creationId="{A5787D78-CFD0-4A17-BB82-F336764FE44C}"/>
          </ac:spMkLst>
        </pc:spChg>
        <pc:spChg chg="mod">
          <ac:chgData name="Ching-Cheng Hsu" userId="aac0c60d-8160-4da0-abef-43bda3d2e492" providerId="ADAL" clId="{F06AB70C-563E-4EED-8B70-5BC13D4CF02E}" dt="2019-12-22T08:34:44.479" v="3813" actId="20577"/>
          <ac:spMkLst>
            <pc:docMk/>
            <pc:sldMk cId="3699198787" sldId="285"/>
            <ac:spMk id="5" creationId="{3A6FA280-DE46-4763-9C3D-FE9377B5BF4B}"/>
          </ac:spMkLst>
        </pc:spChg>
        <pc:picChg chg="add mod">
          <ac:chgData name="Ching-Cheng Hsu" userId="aac0c60d-8160-4da0-abef-43bda3d2e492" providerId="ADAL" clId="{F06AB70C-563E-4EED-8B70-5BC13D4CF02E}" dt="2019-12-22T08:34:04.952" v="3772" actId="14100"/>
          <ac:picMkLst>
            <pc:docMk/>
            <pc:sldMk cId="3699198787" sldId="285"/>
            <ac:picMk id="2" creationId="{EAD38798-4AE7-463F-ACD3-E875BE1F5EEF}"/>
          </ac:picMkLst>
        </pc:picChg>
        <pc:picChg chg="add mod">
          <ac:chgData name="Ching-Cheng Hsu" userId="aac0c60d-8160-4da0-abef-43bda3d2e492" providerId="ADAL" clId="{F06AB70C-563E-4EED-8B70-5BC13D4CF02E}" dt="2019-12-22T08:43:06.754" v="4001" actId="1076"/>
          <ac:picMkLst>
            <pc:docMk/>
            <pc:sldMk cId="3699198787" sldId="285"/>
            <ac:picMk id="4" creationId="{7115A381-11DB-402B-BA66-B3D50D8AE969}"/>
          </ac:picMkLst>
        </pc:picChg>
        <pc:picChg chg="add mod">
          <ac:chgData name="Ching-Cheng Hsu" userId="aac0c60d-8160-4da0-abef-43bda3d2e492" providerId="ADAL" clId="{F06AB70C-563E-4EED-8B70-5BC13D4CF02E}" dt="2019-12-22T08:44:30.436" v="4011" actId="14100"/>
          <ac:picMkLst>
            <pc:docMk/>
            <pc:sldMk cId="3699198787" sldId="285"/>
            <ac:picMk id="6" creationId="{5D7F90DA-791E-496E-AAEC-CD3C9568CF3C}"/>
          </ac:picMkLst>
        </pc:picChg>
        <pc:picChg chg="del">
          <ac:chgData name="Ching-Cheng Hsu" userId="aac0c60d-8160-4da0-abef-43bda3d2e492" providerId="ADAL" clId="{F06AB70C-563E-4EED-8B70-5BC13D4CF02E}" dt="2019-12-22T08:33:28.716" v="3766" actId="21"/>
          <ac:picMkLst>
            <pc:docMk/>
            <pc:sldMk cId="3699198787" sldId="285"/>
            <ac:picMk id="3074" creationId="{B68D7462-BACF-4D82-992F-899FE5997F52}"/>
          </ac:picMkLst>
        </pc:picChg>
      </pc:sldChg>
      <pc:sldChg chg="addSp delSp modSp mod">
        <pc:chgData name="Ching-Cheng Hsu" userId="aac0c60d-8160-4da0-abef-43bda3d2e492" providerId="ADAL" clId="{F06AB70C-563E-4EED-8B70-5BC13D4CF02E}" dt="2019-12-22T09:11:49.307" v="4164" actId="14100"/>
        <pc:sldMkLst>
          <pc:docMk/>
          <pc:sldMk cId="2987378891" sldId="286"/>
        </pc:sldMkLst>
        <pc:spChg chg="del">
          <ac:chgData name="Ching-Cheng Hsu" userId="aac0c60d-8160-4da0-abef-43bda3d2e492" providerId="ADAL" clId="{F06AB70C-563E-4EED-8B70-5BC13D4CF02E}" dt="2019-12-22T09:10:48.695" v="4099" actId="21"/>
          <ac:spMkLst>
            <pc:docMk/>
            <pc:sldMk cId="2987378891" sldId="286"/>
            <ac:spMk id="6" creationId="{CCEA14C2-9BE0-44D8-98F6-27C991F8B7A9}"/>
          </ac:spMkLst>
        </pc:spChg>
        <pc:spChg chg="mod">
          <ac:chgData name="Ching-Cheng Hsu" userId="aac0c60d-8160-4da0-abef-43bda3d2e492" providerId="ADAL" clId="{F06AB70C-563E-4EED-8B70-5BC13D4CF02E}" dt="2019-12-22T09:11:02.841" v="4161" actId="20577"/>
          <ac:spMkLst>
            <pc:docMk/>
            <pc:sldMk cId="2987378891" sldId="286"/>
            <ac:spMk id="7" creationId="{73332673-F43F-49A8-AF9E-0805B8AD2492}"/>
          </ac:spMkLst>
        </pc:spChg>
        <pc:spChg chg="del">
          <ac:chgData name="Ching-Cheng Hsu" userId="aac0c60d-8160-4da0-abef-43bda3d2e492" providerId="ADAL" clId="{F06AB70C-563E-4EED-8B70-5BC13D4CF02E}" dt="2019-12-22T09:10:30.301" v="4094" actId="21"/>
          <ac:spMkLst>
            <pc:docMk/>
            <pc:sldMk cId="2987378891" sldId="286"/>
            <ac:spMk id="8" creationId="{05E756A9-341F-4FB1-A545-A2ADDD3230DF}"/>
          </ac:spMkLst>
        </pc:spChg>
        <pc:spChg chg="del mod">
          <ac:chgData name="Ching-Cheng Hsu" userId="aac0c60d-8160-4da0-abef-43bda3d2e492" providerId="ADAL" clId="{F06AB70C-563E-4EED-8B70-5BC13D4CF02E}" dt="2019-12-22T09:10:39.024" v="4096" actId="21"/>
          <ac:spMkLst>
            <pc:docMk/>
            <pc:sldMk cId="2987378891" sldId="286"/>
            <ac:spMk id="9" creationId="{99FCE4DE-8252-45E2-BBE8-E81BADC9FAFB}"/>
          </ac:spMkLst>
        </pc:spChg>
        <pc:picChg chg="del mod">
          <ac:chgData name="Ching-Cheng Hsu" userId="aac0c60d-8160-4da0-abef-43bda3d2e492" providerId="ADAL" clId="{F06AB70C-563E-4EED-8B70-5BC13D4CF02E}" dt="2019-12-22T09:10:42.623" v="4098" actId="21"/>
          <ac:picMkLst>
            <pc:docMk/>
            <pc:sldMk cId="2987378891" sldId="286"/>
            <ac:picMk id="2" creationId="{9F1249FD-12E8-4537-A3A7-1A86EDD60EFB}"/>
          </ac:picMkLst>
        </pc:picChg>
        <pc:picChg chg="add mod">
          <ac:chgData name="Ching-Cheng Hsu" userId="aac0c60d-8160-4da0-abef-43bda3d2e492" providerId="ADAL" clId="{F06AB70C-563E-4EED-8B70-5BC13D4CF02E}" dt="2019-12-22T09:11:49.307" v="4164" actId="14100"/>
          <ac:picMkLst>
            <pc:docMk/>
            <pc:sldMk cId="2987378891" sldId="286"/>
            <ac:picMk id="4" creationId="{117130B1-E93B-49AE-BBFC-0D341CB080D1}"/>
          </ac:picMkLst>
        </pc:picChg>
      </pc:sldChg>
      <pc:sldChg chg="new del">
        <pc:chgData name="Ching-Cheng Hsu" userId="aac0c60d-8160-4da0-abef-43bda3d2e492" providerId="ADAL" clId="{F06AB70C-563E-4EED-8B70-5BC13D4CF02E}" dt="2019-12-22T09:28:43.002" v="4483" actId="2696"/>
        <pc:sldMkLst>
          <pc:docMk/>
          <pc:sldMk cId="1937280460" sldId="287"/>
        </pc:sldMkLst>
      </pc:sldChg>
      <pc:sldChg chg="addSp delSp modSp mod">
        <pc:chgData name="Ching-Cheng Hsu" userId="aac0c60d-8160-4da0-abef-43bda3d2e492" providerId="ADAL" clId="{F06AB70C-563E-4EED-8B70-5BC13D4CF02E}" dt="2019-12-22T09:36:42.506" v="4739" actId="20577"/>
        <pc:sldMkLst>
          <pc:docMk/>
          <pc:sldMk cId="4214582921" sldId="288"/>
        </pc:sldMkLst>
        <pc:spChg chg="del mod">
          <ac:chgData name="Ching-Cheng Hsu" userId="aac0c60d-8160-4da0-abef-43bda3d2e492" providerId="ADAL" clId="{F06AB70C-563E-4EED-8B70-5BC13D4CF02E}" dt="2019-12-22T09:29:44.648" v="4518"/>
          <ac:spMkLst>
            <pc:docMk/>
            <pc:sldMk cId="4214582921" sldId="288"/>
            <ac:spMk id="2" creationId="{B6466019-1157-4ED9-8CF5-14053381D7EC}"/>
          </ac:spMkLst>
        </pc:spChg>
        <pc:spChg chg="add mod">
          <ac:chgData name="Ching-Cheng Hsu" userId="aac0c60d-8160-4da0-abef-43bda3d2e492" providerId="ADAL" clId="{F06AB70C-563E-4EED-8B70-5BC13D4CF02E}" dt="2019-12-22T09:33:24.252" v="4547" actId="20577"/>
          <ac:spMkLst>
            <pc:docMk/>
            <pc:sldMk cId="4214582921" sldId="288"/>
            <ac:spMk id="6" creationId="{7C70FD3A-904B-4DCB-82E4-98C03A11AECA}"/>
          </ac:spMkLst>
        </pc:spChg>
        <pc:spChg chg="mod">
          <ac:chgData name="Ching-Cheng Hsu" userId="aac0c60d-8160-4da0-abef-43bda3d2e492" providerId="ADAL" clId="{F06AB70C-563E-4EED-8B70-5BC13D4CF02E}" dt="2019-12-22T09:29:43.385" v="4516" actId="20577"/>
          <ac:spMkLst>
            <pc:docMk/>
            <pc:sldMk cId="4214582921" sldId="288"/>
            <ac:spMk id="7" creationId="{73332673-F43F-49A8-AF9E-0805B8AD2492}"/>
          </ac:spMkLst>
        </pc:spChg>
        <pc:spChg chg="add mod">
          <ac:chgData name="Ching-Cheng Hsu" userId="aac0c60d-8160-4da0-abef-43bda3d2e492" providerId="ADAL" clId="{F06AB70C-563E-4EED-8B70-5BC13D4CF02E}" dt="2019-12-22T09:36:42.506" v="4739" actId="20577"/>
          <ac:spMkLst>
            <pc:docMk/>
            <pc:sldMk cId="4214582921" sldId="288"/>
            <ac:spMk id="8" creationId="{4BA1381E-F2B4-49D2-BE6C-2E209D800A4B}"/>
          </ac:spMkLst>
        </pc:spChg>
        <pc:picChg chg="del mod">
          <ac:chgData name="Ching-Cheng Hsu" userId="aac0c60d-8160-4da0-abef-43bda3d2e492" providerId="ADAL" clId="{F06AB70C-563E-4EED-8B70-5BC13D4CF02E}" dt="2019-12-22T09:28:49.557" v="4485" actId="21"/>
          <ac:picMkLst>
            <pc:docMk/>
            <pc:sldMk cId="4214582921" sldId="288"/>
            <ac:picMk id="3" creationId="{AA69C7E0-B69A-4EF2-89A3-8D359EDEB9B2}"/>
          </ac:picMkLst>
        </pc:picChg>
        <pc:picChg chg="add mod">
          <ac:chgData name="Ching-Cheng Hsu" userId="aac0c60d-8160-4da0-abef-43bda3d2e492" providerId="ADAL" clId="{F06AB70C-563E-4EED-8B70-5BC13D4CF02E}" dt="2019-12-22T09:31:28.778" v="4521" actId="1076"/>
          <ac:picMkLst>
            <pc:docMk/>
            <pc:sldMk cId="4214582921" sldId="288"/>
            <ac:picMk id="4" creationId="{DCE94162-962C-47A1-BC89-D57AAD773AF3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208BD5A-1682-466C-83AF-BDB351178423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96B4C93E-29E5-49AB-910D-435A601A7B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1159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1483391">
              <a:defRPr/>
            </a:pPr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918762" defTabSz="1469535" eaLnBrk="0" hangingPunct="0">
              <a:defRPr/>
            </a:pPr>
            <a:r>
              <a:rPr lang="en-US" sz="6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defTabSz="1483391">
              <a:defRPr/>
            </a:pPr>
            <a:fld id="{AE231D2A-D25A-485A-864E-4C2A611BD0B1}" type="datetime8">
              <a:rPr lang="en-US">
                <a:solidFill>
                  <a:prstClr val="black"/>
                </a:solidFill>
                <a:latin typeface="Segoe UI" pitchFamily="34" charset="0"/>
              </a:rPr>
              <a:pPr defTabSz="1483391">
                <a:defRPr/>
              </a:pPr>
              <a:t>12/21/2019 7:28 AM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1483391">
              <a:defRPr/>
            </a:pPr>
            <a:fld id="{B4008EB6-D09E-4580-8CD6-DDB14511944F}" type="slidenum">
              <a:rPr lang="en-US">
                <a:solidFill>
                  <a:prstClr val="black"/>
                </a:solidFill>
                <a:latin typeface="Segoe UI" pitchFamily="34" charset="0"/>
              </a:rPr>
              <a:pPr defTabSz="1483391">
                <a:defRPr/>
              </a:pPr>
              <a:t>1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905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67572-7F77-47A5-B025-4A8FF6DD81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0FDF40-78E8-4D41-9165-3F833CCA1E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18D974-23CB-4CFE-B81B-D48CA8FF63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F45481-915E-4DD7-958A-1B1116C61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C30E84-3774-4EE2-8517-ADA696623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0266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9217FD-9D37-40DA-A35C-40EA8D448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56F804-7281-4FAA-84C6-093DAAE5B2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2B9D1E-E4FE-4E68-919A-8374A0FE29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5DEA95-EEF0-4965-BC8F-75B85DD0A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F8A162-4153-4E14-AD33-2BD6CFE33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777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63C3C55-F304-4B29-B3D0-DFF615E700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037CE2-DA5C-4A6A-98B0-8A911018D9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A61656-0F3C-40AF-8ED8-379D721B93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D09B42-1C8F-4A9F-94B4-80C028FCF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76070D-F4EB-4D9D-95B1-E707323D8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799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96492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b="1" spc="-98" baseline="0">
                <a:solidFill>
                  <a:schemeClr val="bg1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6276530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 hidden="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5" y="6122089"/>
            <a:ext cx="1254995" cy="26770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6" y="6073351"/>
            <a:ext cx="1434641" cy="314582"/>
          </a:xfrm>
          <a:prstGeom prst="rect">
            <a:avLst/>
          </a:prstGeom>
        </p:spPr>
      </p:pic>
      <p:sp>
        <p:nvSpPr>
          <p:cNvPr id="8" name="Content Placeholder 5"/>
          <p:cNvSpPr>
            <a:spLocks noGrp="1"/>
          </p:cNvSpPr>
          <p:nvPr>
            <p:ph sz="quarter" idx="11"/>
          </p:nvPr>
        </p:nvSpPr>
        <p:spPr>
          <a:xfrm>
            <a:off x="269239" y="291069"/>
            <a:ext cx="4165705" cy="425495"/>
          </a:xfrm>
        </p:spPr>
        <p:txBody>
          <a:bodyPr lIns="182880" rIns="182880"/>
          <a:lstStyle>
            <a:lvl1pPr marL="0" indent="0">
              <a:buNone/>
              <a:defRPr lang="en-US" sz="1765" kern="1200" spc="-98" baseline="0" dirty="0" smtClean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89636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03E857-4F15-4ECA-BD4D-D22AAAB9E67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1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BBCBEE-09BB-4F6C-99DF-32BDEF914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BDA9A7-C09C-466D-89EA-0669FA00EA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F5AB38-ABF0-451A-B918-3630C67DD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B504F5-1D59-48CB-A357-8D567160D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6F9340-7DC4-4DE0-A094-EF49D45F42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9671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351A99-66A6-47E9-A678-5698BCE3F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11FA1B-EA03-42BA-B8D2-AFE9D500C5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AAB0A4-31DF-4FC3-A8D3-C337122D7C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734CCC-8B59-4DEE-A767-0C8DCD3B0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6C5244-4E7A-48DC-89B9-247919B22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9459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26140D-EA34-4430-B87F-DB58D5C01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9B7013-18E2-41A0-985E-394AC21807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4C49C8-0740-4A15-AA92-1BD046BC3D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04EB8D-0B2B-4A10-8FD9-F2F42A74E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6B085B-77C6-46B8-BFCA-51694E44A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F0BA26-EDF8-46F2-AF83-AA4A1D9D0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59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B8B70-1291-4E25-BE13-106CD1CE1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189D8F-BB16-4BB8-BEED-CDEADCDF22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85C8FD-96B2-4756-BBDF-0059F9303B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285C30-DD08-4285-A204-79E6A70C069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6854532-94B8-4549-905F-DEA668CBEC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B3A535-5554-4869-859A-FF43D41288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E8A4DCC-DC71-420A-B641-942FE287B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EDD5DC1-6B25-4FE2-9D59-5A959E744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5017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252D9D-05E4-4744-B92D-04FB013CE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5D6370-DD46-4A23-B0BE-1A4BF5301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E0B4DE-3BA6-427D-8BFF-54B04F91B2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117B03-857D-46D6-9664-3A7835588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4141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A9EB21-1E5C-4365-A39C-DD585DA826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9F708-B18F-4DC2-9F87-CF95EBC8C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AB5536-58C0-43A0-A0A8-0DA746858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252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990EFE-D77C-4E31-83F8-3CA41CB72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5DE29E-07EE-41A8-921C-5382BED90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6E31E4-C326-43E0-A7AD-2274541912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B55C89-5D25-4FAA-BA02-02DA13556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688526-D556-46EB-8B26-2F2872D1E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5FD8B0-30EB-432E-AFEB-FBCFEF9B9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769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44DF6-0B0B-4C26-9BF5-68FC88424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5A6AD64-54CE-4299-B983-FF84981123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651736-213A-4CDF-8267-D9B53359A3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FAB7F9-B902-4FDC-A96E-970E120E4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EAB71D-1690-4BC1-B518-51BEDE7F9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CB4633-FEAE-4667-983A-410F90307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735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37853C-9876-499D-AC38-B0D5A9A28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79076-38F7-4DFA-AB2B-9C3546A038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F1644C-BFA7-4E5E-BEF8-16FD2DCA78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A91891-E862-44B3-98A8-0DC4CBFFDA5D}" type="datetimeFigureOut">
              <a:rPr lang="en-US" smtClean="0"/>
              <a:t>12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50DDE9-60B4-4773-ABE2-99672BBF57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00340F-2AB0-4442-9F2A-00E703F83A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31498E-2EFA-4C49-B70E-52A70689F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355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58" y="2044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8" y="2044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9302" y="2096681"/>
            <a:ext cx="11569689" cy="2275293"/>
          </a:xfrm>
        </p:spPr>
        <p:txBody>
          <a:bodyPr>
            <a:normAutofit fontScale="90000"/>
          </a:bodyPr>
          <a:lstStyle/>
          <a:p>
            <a:r>
              <a:rPr lang="en-US" sz="5400" dirty="0"/>
              <a:t>AI Modeling</a:t>
            </a:r>
            <a:br>
              <a:rPr lang="en-US" sz="5400" dirty="0"/>
            </a:br>
            <a:r>
              <a:rPr lang="en-US" sz="5400" dirty="0"/>
              <a:t>Language Features and Introduction to </a:t>
            </a:r>
            <a:r>
              <a:rPr lang="en-US" sz="5400" dirty="0" err="1"/>
              <a:t>Scikit</a:t>
            </a:r>
            <a:r>
              <a:rPr lang="en-US" sz="5400" dirty="0"/>
              <a:t>-learn</a:t>
            </a:r>
            <a:br>
              <a:rPr lang="en-US" sz="5400" dirty="0"/>
            </a:br>
            <a:r>
              <a:rPr lang="en-US" sz="5400" dirty="0"/>
              <a:t> </a:t>
            </a:r>
            <a:br>
              <a:rPr lang="en-US" sz="5400" dirty="0"/>
            </a:br>
            <a:r>
              <a:rPr lang="en-US" sz="5400" dirty="0"/>
              <a:t>Lecture 2   Dec 22, 2019 </a:t>
            </a:r>
            <a:br>
              <a:rPr lang="en-US" sz="5400" dirty="0"/>
            </a:br>
            <a:endParaRPr lang="en-US" sz="5400" dirty="0"/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81A24900-9C61-4926-BB0B-42F92CD26B72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7"/>
          <a:stretch>
            <a:fillRect/>
          </a:stretch>
        </p:blipFill>
        <p:spPr>
          <a:xfrm>
            <a:off x="269302" y="5938837"/>
            <a:ext cx="2599476" cy="782638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03E857-4F15-4ECA-BD4D-D22AAAB9E67A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06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>
            <a:extLst>
              <a:ext uri="{FF2B5EF4-FFF2-40B4-BE49-F238E27FC236}">
                <a16:creationId xmlns:a16="http://schemas.microsoft.com/office/drawing/2014/main" id="{22E4B106-B4D9-46F4-8363-1F3D58199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332673-F43F-49A8-AF9E-0805B8AD2492}"/>
              </a:ext>
            </a:extLst>
          </p:cNvPr>
          <p:cNvSpPr txBox="1"/>
          <p:nvPr/>
        </p:nvSpPr>
        <p:spPr>
          <a:xfrm>
            <a:off x="205008" y="296982"/>
            <a:ext cx="10996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Features of the Text Docume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466019-1157-4ED9-8CF5-14053381D7EC}"/>
              </a:ext>
            </a:extLst>
          </p:cNvPr>
          <p:cNvSpPr/>
          <p:nvPr/>
        </p:nvSpPr>
        <p:spPr>
          <a:xfrm>
            <a:off x="320613" y="1498463"/>
            <a:ext cx="11442762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2. Part of Speech Tagging (POS) : Grammatical tagging or word-category disambiguation. </a:t>
            </a:r>
          </a:p>
          <a:p>
            <a:pPr marL="514350" indent="-514350">
              <a:buAutoNum type="arabicPeriod"/>
            </a:pPr>
            <a:endParaRPr lang="en-US" sz="2800" dirty="0">
              <a:solidFill>
                <a:schemeClr val="bg1"/>
              </a:solidFill>
              <a:latin typeface="-apple-system"/>
            </a:endParaRPr>
          </a:p>
          <a:p>
            <a:endParaRPr lang="en-US" sz="2800" dirty="0">
              <a:solidFill>
                <a:schemeClr val="bg1"/>
              </a:solidFill>
              <a:latin typeface="-apple-system"/>
            </a:endParaRPr>
          </a:p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The University is located at beautiful city center and  </a:t>
            </a:r>
          </a:p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          </a:t>
            </a:r>
            <a:r>
              <a:rPr lang="en-US" sz="2800" b="1" dirty="0">
                <a:solidFill>
                  <a:srgbClr val="FF0000"/>
                </a:solidFill>
                <a:latin typeface="-apple-system"/>
              </a:rPr>
              <a:t>N                      V                 Adj         N        </a:t>
            </a:r>
            <a:r>
              <a:rPr lang="en-US" sz="2800" b="1" dirty="0" err="1">
                <a:solidFill>
                  <a:srgbClr val="FF0000"/>
                </a:solidFill>
                <a:latin typeface="-apple-system"/>
              </a:rPr>
              <a:t>N</a:t>
            </a:r>
            <a:r>
              <a:rPr lang="en-US" sz="2800" b="1" dirty="0">
                <a:solidFill>
                  <a:srgbClr val="FF0000"/>
                </a:solidFill>
                <a:latin typeface="-apple-system"/>
              </a:rPr>
              <a:t> </a:t>
            </a:r>
          </a:p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it is one of the hottest traffic hubs in the nation. </a:t>
            </a:r>
          </a:p>
          <a:p>
            <a:r>
              <a:rPr lang="en-US" sz="2800" dirty="0" err="1">
                <a:solidFill>
                  <a:srgbClr val="FF0000"/>
                </a:solidFill>
                <a:latin typeface="-apple-system"/>
              </a:rPr>
              <a:t>Pron</a:t>
            </a:r>
            <a:r>
              <a:rPr lang="en-US" sz="2800" dirty="0">
                <a:solidFill>
                  <a:srgbClr val="FF0000"/>
                </a:solidFill>
                <a:latin typeface="-apple-system"/>
              </a:rPr>
              <a:t>                    Adj        N         </a:t>
            </a:r>
            <a:r>
              <a:rPr lang="en-US" sz="2800" dirty="0" err="1">
                <a:solidFill>
                  <a:srgbClr val="FF0000"/>
                </a:solidFill>
                <a:latin typeface="-apple-system"/>
              </a:rPr>
              <a:t>N</a:t>
            </a:r>
            <a:r>
              <a:rPr lang="en-US" sz="2800" dirty="0">
                <a:solidFill>
                  <a:srgbClr val="FF0000"/>
                </a:solidFill>
                <a:latin typeface="-apple-system"/>
              </a:rPr>
              <a:t>                   </a:t>
            </a:r>
            <a:r>
              <a:rPr lang="en-US" sz="2800" dirty="0" err="1">
                <a:solidFill>
                  <a:srgbClr val="FF0000"/>
                </a:solidFill>
                <a:latin typeface="-apple-system"/>
              </a:rPr>
              <a:t>N</a:t>
            </a:r>
            <a:r>
              <a:rPr lang="en-US" sz="2800" dirty="0">
                <a:solidFill>
                  <a:srgbClr val="FF0000"/>
                </a:solidFill>
                <a:latin typeface="-apple-system"/>
              </a:rPr>
              <a:t> 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03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>
            <a:extLst>
              <a:ext uri="{FF2B5EF4-FFF2-40B4-BE49-F238E27FC236}">
                <a16:creationId xmlns:a16="http://schemas.microsoft.com/office/drawing/2014/main" id="{22E4B106-B4D9-46F4-8363-1F3D58199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332673-F43F-49A8-AF9E-0805B8AD2492}"/>
              </a:ext>
            </a:extLst>
          </p:cNvPr>
          <p:cNvSpPr txBox="1"/>
          <p:nvPr/>
        </p:nvSpPr>
        <p:spPr>
          <a:xfrm>
            <a:off x="205008" y="296982"/>
            <a:ext cx="10996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Features of the Text Docume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466019-1157-4ED9-8CF5-14053381D7EC}"/>
              </a:ext>
            </a:extLst>
          </p:cNvPr>
          <p:cNvSpPr/>
          <p:nvPr/>
        </p:nvSpPr>
        <p:spPr>
          <a:xfrm>
            <a:off x="320613" y="1452297"/>
            <a:ext cx="1114748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3. Dependent Parsing: </a:t>
            </a:r>
          </a:p>
          <a:p>
            <a:r>
              <a:rPr lang="en-US" sz="2800" b="1" dirty="0">
                <a:solidFill>
                  <a:schemeClr val="bg1"/>
                </a:solidFill>
              </a:rPr>
              <a:t>Syntactic Parsing</a:t>
            </a:r>
            <a:r>
              <a:rPr lang="en-US" sz="2800" dirty="0">
                <a:solidFill>
                  <a:schemeClr val="bg1"/>
                </a:solidFill>
              </a:rPr>
              <a:t> or </a:t>
            </a:r>
            <a:r>
              <a:rPr lang="en-US" sz="2800" b="1" dirty="0">
                <a:solidFill>
                  <a:schemeClr val="bg1"/>
                </a:solidFill>
              </a:rPr>
              <a:t>Dependency Parsing</a:t>
            </a:r>
            <a:r>
              <a:rPr lang="en-US" sz="2800" dirty="0">
                <a:solidFill>
                  <a:schemeClr val="bg1"/>
                </a:solidFill>
              </a:rPr>
              <a:t> is the task of recognizing a sentence and assigning a syntactic structure to it. The most widely used syntactic structure is the parse tree which can be generated using some parsing algorithms.  Study the correlations among the POS tags.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254FAD4-02FE-437B-B993-B4BFA016A226}"/>
              </a:ext>
            </a:extLst>
          </p:cNvPr>
          <p:cNvSpPr/>
          <p:nvPr/>
        </p:nvSpPr>
        <p:spPr>
          <a:xfrm>
            <a:off x="1714500" y="3931051"/>
            <a:ext cx="79629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The University is located at beautiful city center and  </a:t>
            </a:r>
          </a:p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          </a:t>
            </a:r>
            <a:r>
              <a:rPr lang="en-US" sz="2800" b="1" dirty="0">
                <a:solidFill>
                  <a:srgbClr val="FF0000"/>
                </a:solidFill>
                <a:latin typeface="-apple-system"/>
              </a:rPr>
              <a:t>N                      V                 Adj         N        </a:t>
            </a:r>
            <a:r>
              <a:rPr lang="en-US" sz="2800" b="1" dirty="0" err="1">
                <a:solidFill>
                  <a:srgbClr val="FF0000"/>
                </a:solidFill>
                <a:latin typeface="-apple-system"/>
              </a:rPr>
              <a:t>N</a:t>
            </a:r>
            <a:r>
              <a:rPr lang="en-US" sz="2800" b="1" dirty="0">
                <a:solidFill>
                  <a:srgbClr val="FF0000"/>
                </a:solidFill>
                <a:latin typeface="-apple-system"/>
              </a:rPr>
              <a:t> </a:t>
            </a:r>
          </a:p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it is one of the hottest traffic hubs in the nation. </a:t>
            </a:r>
          </a:p>
          <a:p>
            <a:r>
              <a:rPr lang="en-US" sz="2800" dirty="0" err="1">
                <a:solidFill>
                  <a:srgbClr val="FF0000"/>
                </a:solidFill>
                <a:latin typeface="-apple-system"/>
              </a:rPr>
              <a:t>Pron</a:t>
            </a:r>
            <a:r>
              <a:rPr lang="en-US" sz="2800" dirty="0">
                <a:solidFill>
                  <a:srgbClr val="FF0000"/>
                </a:solidFill>
                <a:latin typeface="-apple-system"/>
              </a:rPr>
              <a:t>                    Adj        N         </a:t>
            </a:r>
            <a:r>
              <a:rPr lang="en-US" sz="2800" dirty="0" err="1">
                <a:solidFill>
                  <a:srgbClr val="FF0000"/>
                </a:solidFill>
                <a:latin typeface="-apple-system"/>
              </a:rPr>
              <a:t>N</a:t>
            </a:r>
            <a:r>
              <a:rPr lang="en-US" sz="2800" dirty="0">
                <a:solidFill>
                  <a:srgbClr val="FF0000"/>
                </a:solidFill>
                <a:latin typeface="-apple-system"/>
              </a:rPr>
              <a:t>                   </a:t>
            </a:r>
            <a:r>
              <a:rPr lang="en-US" sz="2800" dirty="0" err="1">
                <a:solidFill>
                  <a:srgbClr val="FF0000"/>
                </a:solidFill>
                <a:latin typeface="-apple-system"/>
              </a:rPr>
              <a:t>N</a:t>
            </a:r>
            <a:r>
              <a:rPr lang="en-US" sz="2800" dirty="0">
                <a:solidFill>
                  <a:srgbClr val="FF0000"/>
                </a:solidFill>
                <a:latin typeface="-apple-system"/>
              </a:rPr>
              <a:t> 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133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>
            <a:extLst>
              <a:ext uri="{FF2B5EF4-FFF2-40B4-BE49-F238E27FC236}">
                <a16:creationId xmlns:a16="http://schemas.microsoft.com/office/drawing/2014/main" id="{22E4B106-B4D9-46F4-8363-1F3D58199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332673-F43F-49A8-AF9E-0805B8AD2492}"/>
              </a:ext>
            </a:extLst>
          </p:cNvPr>
          <p:cNvSpPr txBox="1"/>
          <p:nvPr/>
        </p:nvSpPr>
        <p:spPr>
          <a:xfrm>
            <a:off x="205008" y="296982"/>
            <a:ext cx="10996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Features of the Text Docume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466019-1157-4ED9-8CF5-14053381D7EC}"/>
              </a:ext>
            </a:extLst>
          </p:cNvPr>
          <p:cNvSpPr/>
          <p:nvPr/>
        </p:nvSpPr>
        <p:spPr>
          <a:xfrm>
            <a:off x="274893" y="1313845"/>
            <a:ext cx="11147487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3. Name Entity Recognition</a:t>
            </a:r>
          </a:p>
          <a:p>
            <a:r>
              <a:rPr lang="en-US" sz="3200" dirty="0">
                <a:solidFill>
                  <a:schemeClr val="bg1"/>
                </a:solidFill>
              </a:rPr>
              <a:t>A named entity is a “real-world object” that’s assigned a name – for example, a person, a country, a product or a book title. </a:t>
            </a:r>
          </a:p>
          <a:p>
            <a:endParaRPr lang="en-US" sz="3200" dirty="0">
              <a:solidFill>
                <a:schemeClr val="bg1"/>
              </a:solidFill>
              <a:latin typeface="-apple-system"/>
            </a:endParaRPr>
          </a:p>
          <a:p>
            <a:r>
              <a:rPr lang="en-US" sz="3200" dirty="0">
                <a:solidFill>
                  <a:schemeClr val="bg1"/>
                </a:solidFill>
                <a:latin typeface="-apple-system"/>
              </a:rPr>
              <a:t>Usually two methods:</a:t>
            </a:r>
          </a:p>
          <a:p>
            <a:pPr marL="514350" indent="-514350">
              <a:buAutoNum type="arabicPeriod"/>
            </a:pPr>
            <a:r>
              <a:rPr lang="en-US" sz="3200" dirty="0">
                <a:solidFill>
                  <a:schemeClr val="bg1"/>
                </a:solidFill>
                <a:latin typeface="-apple-system"/>
              </a:rPr>
              <a:t>Hand writing rules (regex)</a:t>
            </a:r>
          </a:p>
          <a:p>
            <a:pPr marL="514350" indent="-514350">
              <a:buAutoNum type="arabicPeriod"/>
            </a:pPr>
            <a:r>
              <a:rPr lang="en-US" sz="3200" dirty="0">
                <a:solidFill>
                  <a:schemeClr val="bg1"/>
                </a:solidFill>
                <a:latin typeface="-apple-system"/>
              </a:rPr>
              <a:t>AI </a:t>
            </a:r>
            <a:r>
              <a:rPr lang="en-US" sz="3200">
                <a:solidFill>
                  <a:schemeClr val="bg1"/>
                </a:solidFill>
                <a:latin typeface="-apple-system"/>
              </a:rPr>
              <a:t>modeling, Sequence </a:t>
            </a:r>
            <a:r>
              <a:rPr lang="en-US" sz="3200" dirty="0">
                <a:solidFill>
                  <a:schemeClr val="bg1"/>
                </a:solidFill>
                <a:latin typeface="-apple-system"/>
              </a:rPr>
              <a:t>modeling.</a:t>
            </a:r>
          </a:p>
        </p:txBody>
      </p:sp>
    </p:spTree>
    <p:extLst>
      <p:ext uri="{BB962C8B-B14F-4D97-AF65-F5344CB8AC3E}">
        <p14:creationId xmlns:p14="http://schemas.microsoft.com/office/powerpoint/2010/main" val="208537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>
            <a:extLst>
              <a:ext uri="{FF2B5EF4-FFF2-40B4-BE49-F238E27FC236}">
                <a16:creationId xmlns:a16="http://schemas.microsoft.com/office/drawing/2014/main" id="{22E4B106-B4D9-46F4-8363-1F3D58199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332673-F43F-49A8-AF9E-0805B8AD2492}"/>
              </a:ext>
            </a:extLst>
          </p:cNvPr>
          <p:cNvSpPr txBox="1"/>
          <p:nvPr/>
        </p:nvSpPr>
        <p:spPr>
          <a:xfrm>
            <a:off x="205008" y="296982"/>
            <a:ext cx="10996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NER : Sequence Model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CE94162-962C-47A1-BC89-D57AAD773A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008" y="1544632"/>
            <a:ext cx="3295650" cy="406274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C70FD3A-904B-4DCB-82E4-98C03A11AECA}"/>
              </a:ext>
            </a:extLst>
          </p:cNvPr>
          <p:cNvSpPr/>
          <p:nvPr/>
        </p:nvSpPr>
        <p:spPr>
          <a:xfrm>
            <a:off x="3886200" y="1795195"/>
            <a:ext cx="6096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Words: </a:t>
            </a:r>
          </a:p>
          <a:p>
            <a:r>
              <a:rPr lang="en-US" sz="2000" b="1" dirty="0">
                <a:solidFill>
                  <a:schemeClr val="bg1"/>
                </a:solidFill>
              </a:rPr>
              <a:t>• Current word (essentially like a learned dictionary)</a:t>
            </a:r>
          </a:p>
          <a:p>
            <a:r>
              <a:rPr lang="en-US" sz="2000" b="1" dirty="0">
                <a:solidFill>
                  <a:schemeClr val="bg1"/>
                </a:solidFill>
              </a:rPr>
              <a:t>• Previous/next word (context)</a:t>
            </a:r>
          </a:p>
          <a:p>
            <a:endParaRPr lang="en-US" sz="2000" b="1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Labels:  Previous (and perhaps next) label</a:t>
            </a:r>
          </a:p>
          <a:p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A1381E-F2B4-49D2-BE6C-2E209D800A4B}"/>
              </a:ext>
            </a:extLst>
          </p:cNvPr>
          <p:cNvSpPr/>
          <p:nvPr/>
        </p:nvSpPr>
        <p:spPr>
          <a:xfrm>
            <a:off x="4335780" y="3896975"/>
            <a:ext cx="6096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</a:rPr>
              <a:t>Another useful features: </a:t>
            </a:r>
          </a:p>
          <a:p>
            <a:r>
              <a:rPr lang="en-US" sz="2000" b="1" dirty="0">
                <a:solidFill>
                  <a:schemeClr val="bg1">
                    <a:lumMod val="95000"/>
                  </a:schemeClr>
                </a:solidFill>
              </a:rPr>
              <a:t>• Word Shapes</a:t>
            </a:r>
          </a:p>
          <a:p>
            <a:r>
              <a:rPr lang="en-US" sz="2000" b="1" dirty="0">
                <a:solidFill>
                  <a:schemeClr val="bg1">
                    <a:lumMod val="95000"/>
                  </a:schemeClr>
                </a:solidFill>
              </a:rPr>
              <a:t> • Map words to simplified representation that encodes attributes such as length, capitalization, numerals, Greek letters, internal punctuation, etc.</a:t>
            </a:r>
          </a:p>
          <a:p>
            <a:endParaRPr lang="en-US" sz="2000" b="1" dirty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en-US" sz="2000" b="1" dirty="0">
                <a:solidFill>
                  <a:schemeClr val="bg1">
                    <a:lumMod val="95000"/>
                  </a:schemeClr>
                </a:solidFill>
              </a:rPr>
              <a:t>TCU                          XXX </a:t>
            </a:r>
          </a:p>
          <a:p>
            <a:r>
              <a:rPr lang="en-US" sz="2000" b="1" dirty="0">
                <a:solidFill>
                  <a:schemeClr val="bg1">
                    <a:lumMod val="95000"/>
                  </a:schemeClr>
                </a:solidFill>
              </a:rPr>
              <a:t>John                         </a:t>
            </a:r>
            <a:r>
              <a:rPr lang="en-US" sz="2000" b="1" dirty="0" err="1">
                <a:solidFill>
                  <a:schemeClr val="bg1">
                    <a:lumMod val="95000"/>
                  </a:schemeClr>
                </a:solidFill>
              </a:rPr>
              <a:t>Xxxx</a:t>
            </a:r>
            <a:endParaRPr lang="en-US" sz="2000" b="1" dirty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en-US" sz="2000" b="1" dirty="0">
                <a:solidFill>
                  <a:schemeClr val="bg1">
                    <a:lumMod val="95000"/>
                  </a:schemeClr>
                </a:solidFill>
              </a:rPr>
              <a:t>425-449-1947        </a:t>
            </a:r>
            <a:r>
              <a:rPr lang="en-US" sz="2000" b="1" dirty="0" err="1">
                <a:solidFill>
                  <a:schemeClr val="bg1">
                    <a:lumMod val="95000"/>
                  </a:schemeClr>
                </a:solidFill>
              </a:rPr>
              <a:t>ddd-ddd-dddd</a:t>
            </a:r>
            <a:r>
              <a:rPr lang="en-US" sz="2000" b="1" dirty="0">
                <a:solidFill>
                  <a:schemeClr val="bg1">
                    <a:lumMod val="95000"/>
                  </a:schemeClr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21458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663A977-7FC5-429A-8DEC-81F2FA58C1FA}"/>
              </a:ext>
            </a:extLst>
          </p:cNvPr>
          <p:cNvSpPr txBox="1"/>
          <p:nvPr/>
        </p:nvSpPr>
        <p:spPr>
          <a:xfrm>
            <a:off x="525161" y="467602"/>
            <a:ext cx="102066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>
                    <a:lumMod val="95000"/>
                  </a:schemeClr>
                </a:solidFill>
              </a:rPr>
              <a:t>Introduction to </a:t>
            </a:r>
            <a:r>
              <a:rPr lang="en-US" sz="4800" b="1" dirty="0" err="1">
                <a:solidFill>
                  <a:schemeClr val="bg1">
                    <a:lumMod val="95000"/>
                  </a:schemeClr>
                </a:solidFill>
              </a:rPr>
              <a:t>Scikit</a:t>
            </a:r>
            <a:r>
              <a:rPr lang="en-US" sz="4800" b="1" dirty="0">
                <a:solidFill>
                  <a:schemeClr val="bg1">
                    <a:lumMod val="95000"/>
                  </a:schemeClr>
                </a:solidFill>
              </a:rPr>
              <a:t>-Learn </a:t>
            </a:r>
          </a:p>
        </p:txBody>
      </p:sp>
      <p:pic>
        <p:nvPicPr>
          <p:cNvPr id="6" name="Content Placeholder 2">
            <a:extLst>
              <a:ext uri="{FF2B5EF4-FFF2-40B4-BE49-F238E27FC236}">
                <a16:creationId xmlns:a16="http://schemas.microsoft.com/office/drawing/2014/main" id="{72ED96F6-56BB-4212-ADBF-F5CD6E49F4E5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269302" y="5938837"/>
            <a:ext cx="2599476" cy="78263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1F4BBF7-CC49-4FDB-8833-5AA279799B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28705"/>
            <a:ext cx="7950107" cy="495456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06628BE-496D-4235-9CCB-2CC50AE8AF7D}"/>
              </a:ext>
            </a:extLst>
          </p:cNvPr>
          <p:cNvSpPr/>
          <p:nvPr/>
        </p:nvSpPr>
        <p:spPr>
          <a:xfrm>
            <a:off x="8147529" y="1577897"/>
            <a:ext cx="38297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err="1">
                <a:solidFill>
                  <a:schemeClr val="bg1"/>
                </a:solidFill>
                <a:latin typeface="Helvetica Neue"/>
              </a:rPr>
              <a:t>Scikit</a:t>
            </a:r>
            <a:r>
              <a:rPr lang="en-US" b="1" dirty="0">
                <a:solidFill>
                  <a:schemeClr val="bg1"/>
                </a:solidFill>
                <a:latin typeface="Helvetica Neue"/>
              </a:rPr>
              <a:t>-learn was initially developed by David </a:t>
            </a:r>
            <a:r>
              <a:rPr lang="en-US" b="1" dirty="0" err="1">
                <a:solidFill>
                  <a:schemeClr val="bg1"/>
                </a:solidFill>
                <a:latin typeface="Helvetica Neue"/>
              </a:rPr>
              <a:t>Cournapeau</a:t>
            </a:r>
            <a:r>
              <a:rPr lang="en-US" b="1" dirty="0">
                <a:solidFill>
                  <a:schemeClr val="bg1"/>
                </a:solidFill>
                <a:latin typeface="Helvetica Neue"/>
              </a:rPr>
              <a:t> as a Google summer of code project in 2007.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6366CD-B4EB-45F1-8D88-222C45BE6E40}"/>
              </a:ext>
            </a:extLst>
          </p:cNvPr>
          <p:cNvSpPr/>
          <p:nvPr/>
        </p:nvSpPr>
        <p:spPr>
          <a:xfrm>
            <a:off x="8219408" y="3057525"/>
            <a:ext cx="3829715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Helvetica Neue"/>
              </a:rPr>
              <a:t>NumPy</a:t>
            </a:r>
            <a:r>
              <a:rPr lang="en-US" dirty="0">
                <a:solidFill>
                  <a:schemeClr val="bg1"/>
                </a:solidFill>
                <a:latin typeface="Helvetica Neue"/>
              </a:rPr>
              <a:t>: Base n-dimensional array package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Helvetica Neue"/>
              </a:rPr>
              <a:t>SciPy</a:t>
            </a:r>
            <a:r>
              <a:rPr lang="en-US" dirty="0">
                <a:solidFill>
                  <a:schemeClr val="bg1"/>
                </a:solidFill>
                <a:latin typeface="Helvetica Neue"/>
              </a:rPr>
              <a:t>: Fundamental library for scientific computing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Helvetica Neue"/>
              </a:rPr>
              <a:t>Matplotlib</a:t>
            </a:r>
            <a:r>
              <a:rPr lang="en-US" dirty="0">
                <a:solidFill>
                  <a:schemeClr val="bg1"/>
                </a:solidFill>
                <a:latin typeface="Helvetica Neue"/>
              </a:rPr>
              <a:t>: Comprehensive 2D/3D plotting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b="1" dirty="0" err="1">
                <a:solidFill>
                  <a:schemeClr val="bg1"/>
                </a:solidFill>
                <a:latin typeface="Helvetica Neue"/>
              </a:rPr>
              <a:t>IPython</a:t>
            </a:r>
            <a:r>
              <a:rPr lang="en-US" dirty="0">
                <a:solidFill>
                  <a:schemeClr val="bg1"/>
                </a:solidFill>
                <a:latin typeface="Helvetica Neue"/>
              </a:rPr>
              <a:t>: Enhanced interactive console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b="1" dirty="0" err="1">
                <a:solidFill>
                  <a:schemeClr val="bg1"/>
                </a:solidFill>
                <a:latin typeface="Helvetica Neue"/>
              </a:rPr>
              <a:t>Sympy</a:t>
            </a:r>
            <a:r>
              <a:rPr lang="en-US" dirty="0">
                <a:solidFill>
                  <a:schemeClr val="bg1"/>
                </a:solidFill>
                <a:latin typeface="Helvetica Neue"/>
              </a:rPr>
              <a:t>: Symbolic mathematics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Helvetica Neue"/>
              </a:rPr>
              <a:t>Pandas</a:t>
            </a:r>
            <a:r>
              <a:rPr lang="en-US" dirty="0">
                <a:solidFill>
                  <a:schemeClr val="bg1"/>
                </a:solidFill>
                <a:latin typeface="Helvetica Neue"/>
              </a:rPr>
              <a:t>: Data structures and analysis</a:t>
            </a:r>
            <a:endParaRPr lang="en-US" b="0" i="0" dirty="0">
              <a:solidFill>
                <a:schemeClr val="bg1"/>
              </a:solidFill>
              <a:effectLst/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37290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663A977-7FC5-429A-8DEC-81F2FA58C1FA}"/>
              </a:ext>
            </a:extLst>
          </p:cNvPr>
          <p:cNvSpPr txBox="1"/>
          <p:nvPr/>
        </p:nvSpPr>
        <p:spPr>
          <a:xfrm>
            <a:off x="525161" y="467602"/>
            <a:ext cx="11285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>
                    <a:lumMod val="95000"/>
                  </a:schemeClr>
                </a:solidFill>
              </a:rPr>
              <a:t>Three kinds of Machine learning Problems</a:t>
            </a:r>
          </a:p>
        </p:txBody>
      </p:sp>
      <p:pic>
        <p:nvPicPr>
          <p:cNvPr id="6" name="Content Placeholder 2">
            <a:extLst>
              <a:ext uri="{FF2B5EF4-FFF2-40B4-BE49-F238E27FC236}">
                <a16:creationId xmlns:a16="http://schemas.microsoft.com/office/drawing/2014/main" id="{72ED96F6-56BB-4212-ADBF-F5CD6E49F4E5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269302" y="5938837"/>
            <a:ext cx="2599476" cy="78263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A6473DC-0D01-47D7-92A0-08B907A95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7927" y="1087494"/>
            <a:ext cx="7885344" cy="5633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35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A6FA280-DE46-4763-9C3D-FE9377B5BF4B}"/>
              </a:ext>
            </a:extLst>
          </p:cNvPr>
          <p:cNvSpPr txBox="1"/>
          <p:nvPr/>
        </p:nvSpPr>
        <p:spPr>
          <a:xfrm>
            <a:off x="308919" y="399640"/>
            <a:ext cx="109591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>
                    <a:lumMod val="95000"/>
                  </a:schemeClr>
                </a:solidFill>
              </a:rPr>
              <a:t>The procedures of the supervised learning </a:t>
            </a:r>
          </a:p>
        </p:txBody>
      </p:sp>
      <p:pic>
        <p:nvPicPr>
          <p:cNvPr id="7" name="Content Placeholder 2">
            <a:extLst>
              <a:ext uri="{FF2B5EF4-FFF2-40B4-BE49-F238E27FC236}">
                <a16:creationId xmlns:a16="http://schemas.microsoft.com/office/drawing/2014/main" id="{0D6CE551-8911-4AE4-8370-FCE0DE055A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pic>
        <p:nvPicPr>
          <p:cNvPr id="3074" name="Picture 2" descr="Data School Machine Learning Process">
            <a:extLst>
              <a:ext uri="{FF2B5EF4-FFF2-40B4-BE49-F238E27FC236}">
                <a16:creationId xmlns:a16="http://schemas.microsoft.com/office/drawing/2014/main" id="{B68D7462-BACF-4D82-992F-899FE5997F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8759" y="1275137"/>
            <a:ext cx="8158791" cy="5439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1378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A6FA280-DE46-4763-9C3D-FE9377B5BF4B}"/>
              </a:ext>
            </a:extLst>
          </p:cNvPr>
          <p:cNvSpPr txBox="1"/>
          <p:nvPr/>
        </p:nvSpPr>
        <p:spPr>
          <a:xfrm>
            <a:off x="301299" y="399640"/>
            <a:ext cx="109591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>
                    <a:lumMod val="95000"/>
                  </a:schemeClr>
                </a:solidFill>
              </a:rPr>
              <a:t>First </a:t>
            </a:r>
            <a:r>
              <a:rPr lang="en-US" sz="4800" b="1" dirty="0" err="1">
                <a:solidFill>
                  <a:schemeClr val="bg1">
                    <a:lumMod val="95000"/>
                  </a:schemeClr>
                </a:solidFill>
              </a:rPr>
              <a:t>Scikit</a:t>
            </a:r>
            <a:r>
              <a:rPr lang="en-US" sz="4800" b="1" dirty="0">
                <a:solidFill>
                  <a:schemeClr val="bg1">
                    <a:lumMod val="95000"/>
                  </a:schemeClr>
                </a:solidFill>
              </a:rPr>
              <a:t>-Learn Model: Liner Regression</a:t>
            </a:r>
          </a:p>
        </p:txBody>
      </p:sp>
      <p:pic>
        <p:nvPicPr>
          <p:cNvPr id="7" name="Content Placeholder 2">
            <a:extLst>
              <a:ext uri="{FF2B5EF4-FFF2-40B4-BE49-F238E27FC236}">
                <a16:creationId xmlns:a16="http://schemas.microsoft.com/office/drawing/2014/main" id="{0D6CE551-8911-4AE4-8370-FCE0DE055A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AD38798-4AE7-463F-ACD3-E875BE1F5E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284" y="1230637"/>
            <a:ext cx="6105676" cy="385190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5787D78-CFD0-4A17-BB82-F336764FE44C}"/>
              </a:ext>
            </a:extLst>
          </p:cNvPr>
          <p:cNvSpPr txBox="1"/>
          <p:nvPr/>
        </p:nvSpPr>
        <p:spPr>
          <a:xfrm>
            <a:off x="6609107" y="1424940"/>
            <a:ext cx="42672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Given a data set (X,Y), build a model which can predict y value with a given x. </a:t>
            </a:r>
          </a:p>
          <a:p>
            <a:endParaRPr lang="en-US" sz="2800" b="1" dirty="0">
              <a:solidFill>
                <a:schemeClr val="bg1"/>
              </a:solidFill>
            </a:endParaRPr>
          </a:p>
          <a:p>
            <a:r>
              <a:rPr lang="en-US" sz="2800" b="1" dirty="0">
                <a:solidFill>
                  <a:schemeClr val="bg1"/>
                </a:solidFill>
              </a:rPr>
              <a:t>Linear model: </a:t>
            </a:r>
          </a:p>
          <a:p>
            <a:r>
              <a:rPr lang="en-US" sz="2800" b="1" dirty="0">
                <a:solidFill>
                  <a:schemeClr val="bg1"/>
                </a:solidFill>
              </a:rPr>
              <a:t>   y  =  mx +b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15A381-11DB-402B-BA66-B3D50D8AE9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7540" y="5138261"/>
            <a:ext cx="2589509" cy="15868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D7F90DA-791E-496E-AAEC-CD3C9568C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283" y="1091957"/>
            <a:ext cx="6105676" cy="3990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19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663A977-7FC5-429A-8DEC-81F2FA58C1FA}"/>
              </a:ext>
            </a:extLst>
          </p:cNvPr>
          <p:cNvSpPr txBox="1"/>
          <p:nvPr/>
        </p:nvSpPr>
        <p:spPr>
          <a:xfrm>
            <a:off x="269302" y="213902"/>
            <a:ext cx="9082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>
                    <a:lumMod val="95000"/>
                  </a:schemeClr>
                </a:solidFill>
              </a:rPr>
              <a:t>The Goal of This Cour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BADE6A-E30E-4817-999F-8307BB2A5049}"/>
              </a:ext>
            </a:extLst>
          </p:cNvPr>
          <p:cNvSpPr txBox="1"/>
          <p:nvPr/>
        </p:nvSpPr>
        <p:spPr>
          <a:xfrm>
            <a:off x="486129" y="944887"/>
            <a:ext cx="1121974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You will learn:</a:t>
            </a:r>
          </a:p>
          <a:p>
            <a:r>
              <a:rPr lang="en-US" sz="2400" b="1" dirty="0">
                <a:solidFill>
                  <a:schemeClr val="bg1"/>
                </a:solidFill>
              </a:rPr>
              <a:t>1. What can be considered as language features?</a:t>
            </a:r>
          </a:p>
          <a:p>
            <a:r>
              <a:rPr lang="en-US" sz="2400" b="1" dirty="0">
                <a:solidFill>
                  <a:schemeClr val="bg1"/>
                </a:solidFill>
              </a:rPr>
              <a:t>2. What is </a:t>
            </a:r>
            <a:r>
              <a:rPr lang="en-US" sz="2400" b="1" dirty="0" err="1">
                <a:solidFill>
                  <a:schemeClr val="bg1"/>
                </a:solidFill>
              </a:rPr>
              <a:t>scikit</a:t>
            </a:r>
            <a:r>
              <a:rPr lang="en-US" sz="2400" b="1" dirty="0">
                <a:solidFill>
                  <a:schemeClr val="bg1"/>
                </a:solidFill>
              </a:rPr>
              <a:t>-learn package, how can we use it. </a:t>
            </a:r>
          </a:p>
          <a:p>
            <a:endParaRPr lang="en-US" sz="2400" b="1" dirty="0">
              <a:solidFill>
                <a:schemeClr val="bg1"/>
              </a:solidFill>
            </a:endParaRPr>
          </a:p>
          <a:p>
            <a:r>
              <a:rPr lang="en-US" sz="2400" b="1" dirty="0">
                <a:solidFill>
                  <a:schemeClr val="bg1"/>
                </a:solidFill>
              </a:rPr>
              <a:t>You will do:</a:t>
            </a:r>
          </a:p>
          <a:p>
            <a:pPr marL="457200" indent="-457200">
              <a:buAutoNum type="arabicPeriod"/>
            </a:pPr>
            <a:r>
              <a:rPr lang="en-US" sz="2400" b="1" dirty="0">
                <a:solidFill>
                  <a:schemeClr val="bg1"/>
                </a:solidFill>
              </a:rPr>
              <a:t>Listen to lecture and answer questions</a:t>
            </a:r>
          </a:p>
          <a:p>
            <a:pPr marL="457200" indent="-457200">
              <a:buAutoNum type="arabicPeriod"/>
            </a:pPr>
            <a:r>
              <a:rPr lang="en-US" sz="2400" b="1" dirty="0">
                <a:solidFill>
                  <a:schemeClr val="bg1"/>
                </a:solidFill>
              </a:rPr>
              <a:t>Do exercise and build your first model. </a:t>
            </a:r>
          </a:p>
          <a:p>
            <a:endParaRPr lang="en-US" sz="2400" b="1" dirty="0">
              <a:solidFill>
                <a:schemeClr val="bg1"/>
              </a:solidFill>
            </a:endParaRPr>
          </a:p>
        </p:txBody>
      </p:sp>
      <p:pic>
        <p:nvPicPr>
          <p:cNvPr id="9" name="Content Placeholder 2">
            <a:extLst>
              <a:ext uri="{FF2B5EF4-FFF2-40B4-BE49-F238E27FC236}">
                <a16:creationId xmlns:a16="http://schemas.microsoft.com/office/drawing/2014/main" id="{58D8B9ED-06B6-4EE9-A897-4F796A5C12D4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269302" y="5938837"/>
            <a:ext cx="2599476" cy="78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61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>
            <a:extLst>
              <a:ext uri="{FF2B5EF4-FFF2-40B4-BE49-F238E27FC236}">
                <a16:creationId xmlns:a16="http://schemas.microsoft.com/office/drawing/2014/main" id="{22E4B106-B4D9-46F4-8363-1F3D58199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332673-F43F-49A8-AF9E-0805B8AD2492}"/>
              </a:ext>
            </a:extLst>
          </p:cNvPr>
          <p:cNvSpPr txBox="1"/>
          <p:nvPr/>
        </p:nvSpPr>
        <p:spPr>
          <a:xfrm>
            <a:off x="205008" y="296982"/>
            <a:ext cx="10996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Features, Features, Features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E756A9-341F-4FB1-A545-A2ADDD3230DF}"/>
              </a:ext>
            </a:extLst>
          </p:cNvPr>
          <p:cNvSpPr txBox="1"/>
          <p:nvPr/>
        </p:nvSpPr>
        <p:spPr>
          <a:xfrm>
            <a:off x="320612" y="1367082"/>
            <a:ext cx="11071287" cy="4647426"/>
          </a:xfrm>
          <a:prstGeom prst="rect">
            <a:avLst/>
          </a:prstGeom>
          <a:solidFill>
            <a:schemeClr val="tx2">
              <a:alpha val="2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What are the features in machine learning?</a:t>
            </a:r>
          </a:p>
          <a:p>
            <a:r>
              <a:rPr lang="en-US" sz="2400" dirty="0">
                <a:solidFill>
                  <a:srgbClr val="92D050"/>
                </a:solidFill>
              </a:rPr>
              <a:t>Features are the variables found in the given problem set that can strongly/sufficiently help us build an accurate predictive model. </a:t>
            </a:r>
          </a:p>
          <a:p>
            <a:endParaRPr lang="en-US" sz="2400" dirty="0">
              <a:solidFill>
                <a:srgbClr val="92D050"/>
              </a:solidFill>
            </a:endParaRPr>
          </a:p>
          <a:p>
            <a:endParaRPr lang="en-US" sz="2400" dirty="0">
              <a:solidFill>
                <a:srgbClr val="92D050"/>
              </a:solidFill>
            </a:endParaRPr>
          </a:p>
          <a:p>
            <a:endParaRPr lang="en-US" sz="2400" dirty="0">
              <a:solidFill>
                <a:srgbClr val="92D050"/>
              </a:solidFill>
            </a:endParaRPr>
          </a:p>
          <a:p>
            <a:endParaRPr lang="en-US" sz="2400" dirty="0">
              <a:solidFill>
                <a:srgbClr val="92D050"/>
              </a:solidFill>
            </a:endParaRPr>
          </a:p>
          <a:p>
            <a:endParaRPr lang="en-US" sz="2400" dirty="0">
              <a:solidFill>
                <a:srgbClr val="92D050"/>
              </a:solidFill>
            </a:endParaRPr>
          </a:p>
          <a:p>
            <a:r>
              <a:rPr lang="en-US" sz="2400" dirty="0">
                <a:solidFill>
                  <a:srgbClr val="92D050"/>
                </a:solidFill>
              </a:rPr>
              <a:t>Example: If you want to predict the price of the house, what will be the features you consider? </a:t>
            </a:r>
          </a:p>
          <a:p>
            <a:r>
              <a:rPr lang="en-US" sz="2400" dirty="0">
                <a:solidFill>
                  <a:srgbClr val="92D050"/>
                </a:solidFill>
              </a:rPr>
              <a:t>Think: If you want to predict which college/university is the best for you, what are the features? 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56F041C-B39F-4AE8-AED9-49B8ED5837D7}"/>
              </a:ext>
            </a:extLst>
          </p:cNvPr>
          <p:cNvSpPr/>
          <p:nvPr/>
        </p:nvSpPr>
        <p:spPr>
          <a:xfrm>
            <a:off x="3989355" y="2852949"/>
            <a:ext cx="1866900" cy="15538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9963EC6-9A60-4517-9D4D-D0CE96243DC1}"/>
              </a:ext>
            </a:extLst>
          </p:cNvPr>
          <p:cNvSpPr txBox="1"/>
          <p:nvPr/>
        </p:nvSpPr>
        <p:spPr>
          <a:xfrm>
            <a:off x="4379997" y="3275109"/>
            <a:ext cx="16097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Statistics</a:t>
            </a:r>
            <a:r>
              <a:rPr lang="en-US" dirty="0"/>
              <a:t>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55D0DA-F558-44F4-BB8B-865A771B1CD0}"/>
              </a:ext>
            </a:extLst>
          </p:cNvPr>
          <p:cNvSpPr/>
          <p:nvPr/>
        </p:nvSpPr>
        <p:spPr>
          <a:xfrm>
            <a:off x="2551297" y="2799080"/>
            <a:ext cx="1866900" cy="1553845"/>
          </a:xfrm>
          <a:prstGeom prst="ellipse">
            <a:avLst/>
          </a:prstGeom>
          <a:solidFill>
            <a:srgbClr val="00B050">
              <a:alpha val="5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C8444D-A1C1-42CD-8FA0-CFEC24BCF465}"/>
              </a:ext>
            </a:extLst>
          </p:cNvPr>
          <p:cNvSpPr txBox="1"/>
          <p:nvPr/>
        </p:nvSpPr>
        <p:spPr>
          <a:xfrm>
            <a:off x="2552048" y="2951946"/>
            <a:ext cx="18443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Domain</a:t>
            </a:r>
          </a:p>
          <a:p>
            <a:r>
              <a:rPr lang="en-US" sz="2800" b="1" dirty="0">
                <a:solidFill>
                  <a:schemeClr val="bg1"/>
                </a:solidFill>
              </a:rPr>
              <a:t>Knowledge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393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>
            <a:extLst>
              <a:ext uri="{FF2B5EF4-FFF2-40B4-BE49-F238E27FC236}">
                <a16:creationId xmlns:a16="http://schemas.microsoft.com/office/drawing/2014/main" id="{22E4B106-B4D9-46F4-8363-1F3D58199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332673-F43F-49A8-AF9E-0805B8AD2492}"/>
              </a:ext>
            </a:extLst>
          </p:cNvPr>
          <p:cNvSpPr txBox="1"/>
          <p:nvPr/>
        </p:nvSpPr>
        <p:spPr>
          <a:xfrm>
            <a:off x="242769" y="190878"/>
            <a:ext cx="109963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Features of the Text </a:t>
            </a:r>
          </a:p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Documen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84BE838-D053-4EBC-B1B0-5C677699AE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6977" y="0"/>
            <a:ext cx="5215023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2CCD394-4B98-4C7C-8A72-E5A1F8569889}"/>
              </a:ext>
            </a:extLst>
          </p:cNvPr>
          <p:cNvSpPr txBox="1"/>
          <p:nvPr/>
        </p:nvSpPr>
        <p:spPr>
          <a:xfrm>
            <a:off x="4827280" y="3900656"/>
            <a:ext cx="1051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dirty="0"/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BB498F-EA24-41B1-9857-88343CABC072}"/>
              </a:ext>
            </a:extLst>
          </p:cNvPr>
          <p:cNvSpPr txBox="1"/>
          <p:nvPr/>
        </p:nvSpPr>
        <p:spPr>
          <a:xfrm>
            <a:off x="5215024" y="5608527"/>
            <a:ext cx="1051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dirty="0"/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B603BA8-4CCF-42AC-A6F6-89566C4DF392}"/>
              </a:ext>
            </a:extLst>
          </p:cNvPr>
          <p:cNvSpPr txBox="1"/>
          <p:nvPr/>
        </p:nvSpPr>
        <p:spPr>
          <a:xfrm>
            <a:off x="5215023" y="2217792"/>
            <a:ext cx="1378886" cy="369332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URL  </a:t>
            </a:r>
            <a:r>
              <a:rPr lang="en-US" dirty="0"/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2F816EA-E4DD-4394-B745-BCEE55C0BE84}"/>
              </a:ext>
            </a:extLst>
          </p:cNvPr>
          <p:cNvSpPr txBox="1"/>
          <p:nvPr/>
        </p:nvSpPr>
        <p:spPr>
          <a:xfrm>
            <a:off x="333018" y="2136082"/>
            <a:ext cx="451485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We need to extract useful information to understand the content and take actions.</a:t>
            </a:r>
          </a:p>
          <a:p>
            <a:endParaRPr lang="en-US" sz="2800" b="1" dirty="0">
              <a:solidFill>
                <a:schemeClr val="bg1"/>
              </a:solidFill>
            </a:endParaRPr>
          </a:p>
          <a:p>
            <a:endParaRPr lang="en-US" sz="2800" b="1" dirty="0">
              <a:solidFill>
                <a:schemeClr val="bg1"/>
              </a:solidFill>
            </a:endParaRPr>
          </a:p>
          <a:p>
            <a:r>
              <a:rPr lang="en-US" sz="2800" b="1" dirty="0">
                <a:solidFill>
                  <a:schemeClr val="bg1"/>
                </a:solidFill>
              </a:rPr>
              <a:t>The texture of the document matters!  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2E2E9D7-E2A6-4D99-B30D-C3A3AC41E9AC}"/>
              </a:ext>
            </a:extLst>
          </p:cNvPr>
          <p:cNvCxnSpPr>
            <a:cxnSpLocks/>
          </p:cNvCxnSpPr>
          <p:nvPr/>
        </p:nvCxnSpPr>
        <p:spPr>
          <a:xfrm flipV="1">
            <a:off x="6629673" y="1707972"/>
            <a:ext cx="2499087" cy="618460"/>
          </a:xfrm>
          <a:prstGeom prst="straightConnector1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A42CFB9-45E1-477F-80D5-36C30AFF50D4}"/>
              </a:ext>
            </a:extLst>
          </p:cNvPr>
          <p:cNvSpPr txBox="1"/>
          <p:nvPr/>
        </p:nvSpPr>
        <p:spPr>
          <a:xfrm>
            <a:off x="5406557" y="1154877"/>
            <a:ext cx="1378886" cy="646331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ame of University  </a:t>
            </a:r>
            <a:r>
              <a:rPr lang="en-US" dirty="0"/>
              <a:t> 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C570A27-0861-43D6-B59E-C1939E4E1801}"/>
              </a:ext>
            </a:extLst>
          </p:cNvPr>
          <p:cNvCxnSpPr>
            <a:cxnSpLocks/>
          </p:cNvCxnSpPr>
          <p:nvPr/>
        </p:nvCxnSpPr>
        <p:spPr>
          <a:xfrm flipV="1">
            <a:off x="6746309" y="601981"/>
            <a:ext cx="881311" cy="618460"/>
          </a:xfrm>
          <a:prstGeom prst="straightConnector1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E1D001B-8EFE-4385-86E2-EFDFF5C1F372}"/>
              </a:ext>
            </a:extLst>
          </p:cNvPr>
          <p:cNvSpPr txBox="1"/>
          <p:nvPr/>
        </p:nvSpPr>
        <p:spPr>
          <a:xfrm>
            <a:off x="5173484" y="6369543"/>
            <a:ext cx="1378886" cy="369332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hone Nr.  </a:t>
            </a:r>
            <a:r>
              <a:rPr lang="en-US" dirty="0"/>
              <a:t> 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B891996-1B75-41E1-B116-8B8EFE7D30AD}"/>
              </a:ext>
            </a:extLst>
          </p:cNvPr>
          <p:cNvCxnSpPr>
            <a:cxnSpLocks/>
          </p:cNvCxnSpPr>
          <p:nvPr/>
        </p:nvCxnSpPr>
        <p:spPr>
          <a:xfrm flipV="1">
            <a:off x="6525347" y="5820056"/>
            <a:ext cx="772211" cy="157803"/>
          </a:xfrm>
          <a:prstGeom prst="straightConnector1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957DBD91-DEE5-4F04-A094-487B305939AF}"/>
              </a:ext>
            </a:extLst>
          </p:cNvPr>
          <p:cNvSpPr txBox="1"/>
          <p:nvPr/>
        </p:nvSpPr>
        <p:spPr>
          <a:xfrm>
            <a:off x="5174143" y="2942577"/>
            <a:ext cx="1378886" cy="369332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Date  </a:t>
            </a:r>
            <a:r>
              <a:rPr lang="en-US" dirty="0"/>
              <a:t> 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357205B-2439-4CCF-8DE3-583922BA7C06}"/>
              </a:ext>
            </a:extLst>
          </p:cNvPr>
          <p:cNvCxnSpPr>
            <a:cxnSpLocks/>
          </p:cNvCxnSpPr>
          <p:nvPr/>
        </p:nvCxnSpPr>
        <p:spPr>
          <a:xfrm>
            <a:off x="6552370" y="3115935"/>
            <a:ext cx="869510" cy="426568"/>
          </a:xfrm>
          <a:prstGeom prst="straightConnector1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83FC775F-80AF-45BE-B2EF-D1341A95C71D}"/>
              </a:ext>
            </a:extLst>
          </p:cNvPr>
          <p:cNvSpPr txBox="1"/>
          <p:nvPr/>
        </p:nvSpPr>
        <p:spPr>
          <a:xfrm>
            <a:off x="5173484" y="4285977"/>
            <a:ext cx="1378886" cy="369332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ntent  </a:t>
            </a:r>
            <a:r>
              <a:rPr lang="en-US" dirty="0"/>
              <a:t> 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4CCC8A2-983E-460F-A0A3-3165A8F8AB7A}"/>
              </a:ext>
            </a:extLst>
          </p:cNvPr>
          <p:cNvCxnSpPr>
            <a:cxnSpLocks/>
          </p:cNvCxnSpPr>
          <p:nvPr/>
        </p:nvCxnSpPr>
        <p:spPr>
          <a:xfrm>
            <a:off x="6554267" y="4459335"/>
            <a:ext cx="867613" cy="211963"/>
          </a:xfrm>
          <a:prstGeom prst="straightConnector1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740C98FD-DF22-425B-AE3C-A6ADFECD6122}"/>
              </a:ext>
            </a:extLst>
          </p:cNvPr>
          <p:cNvSpPr txBox="1"/>
          <p:nvPr/>
        </p:nvSpPr>
        <p:spPr>
          <a:xfrm>
            <a:off x="5128612" y="5727803"/>
            <a:ext cx="1378886" cy="369332"/>
          </a:xfrm>
          <a:prstGeom prst="rect">
            <a:avLst/>
          </a:prstGeom>
          <a:noFill/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Address  </a:t>
            </a:r>
            <a:r>
              <a:rPr lang="en-US" dirty="0"/>
              <a:t> 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2E253605-4880-467C-A089-93D9D791DEC4}"/>
              </a:ext>
            </a:extLst>
          </p:cNvPr>
          <p:cNvCxnSpPr>
            <a:cxnSpLocks/>
          </p:cNvCxnSpPr>
          <p:nvPr/>
        </p:nvCxnSpPr>
        <p:spPr>
          <a:xfrm flipV="1">
            <a:off x="6549332" y="6554209"/>
            <a:ext cx="986848" cy="1"/>
          </a:xfrm>
          <a:prstGeom prst="straightConnector1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993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>
            <a:extLst>
              <a:ext uri="{FF2B5EF4-FFF2-40B4-BE49-F238E27FC236}">
                <a16:creationId xmlns:a16="http://schemas.microsoft.com/office/drawing/2014/main" id="{22E4B106-B4D9-46F4-8363-1F3D58199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332673-F43F-49A8-AF9E-0805B8AD2492}"/>
              </a:ext>
            </a:extLst>
          </p:cNvPr>
          <p:cNvSpPr txBox="1"/>
          <p:nvPr/>
        </p:nvSpPr>
        <p:spPr>
          <a:xfrm>
            <a:off x="205008" y="296982"/>
            <a:ext cx="10996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Features of the Text Docume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E756A9-341F-4FB1-A545-A2ADDD3230DF}"/>
              </a:ext>
            </a:extLst>
          </p:cNvPr>
          <p:cNvSpPr txBox="1"/>
          <p:nvPr/>
        </p:nvSpPr>
        <p:spPr>
          <a:xfrm>
            <a:off x="320613" y="1367082"/>
            <a:ext cx="107651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92D050"/>
                </a:solidFill>
              </a:rPr>
              <a:t>Given a document, what are the useful features in order to distinguish this one from the others? 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466019-1157-4ED9-8CF5-14053381D7EC}"/>
              </a:ext>
            </a:extLst>
          </p:cNvPr>
          <p:cNvSpPr/>
          <p:nvPr/>
        </p:nvSpPr>
        <p:spPr>
          <a:xfrm>
            <a:off x="320613" y="2474893"/>
            <a:ext cx="109963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1. Tokenization  Tokenization is the task of splitting a text into meaningful segments, called </a:t>
            </a:r>
            <a:r>
              <a:rPr lang="en-US" sz="2800" i="1" dirty="0">
                <a:solidFill>
                  <a:schemeClr val="bg1"/>
                </a:solidFill>
                <a:latin typeface="-apple-system"/>
              </a:rPr>
              <a:t>tokens</a:t>
            </a:r>
            <a:r>
              <a:rPr lang="en-US" sz="2800" dirty="0">
                <a:solidFill>
                  <a:schemeClr val="bg1"/>
                </a:solidFill>
                <a:latin typeface="-apple-system"/>
              </a:rPr>
              <a:t>. 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C2AE98-1BA5-4322-9BBE-AB87439EBC17}"/>
              </a:ext>
            </a:extLst>
          </p:cNvPr>
          <p:cNvSpPr txBox="1"/>
          <p:nvPr/>
        </p:nvSpPr>
        <p:spPr>
          <a:xfrm>
            <a:off x="320613" y="3790950"/>
            <a:ext cx="1129664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New York University was accepting 10000 candidates around the world in 2018 semester.   We are planning to accept 7000 students in New York campus this year.  </a:t>
            </a:r>
          </a:p>
        </p:txBody>
      </p:sp>
    </p:spTree>
    <p:extLst>
      <p:ext uri="{BB962C8B-B14F-4D97-AF65-F5344CB8AC3E}">
        <p14:creationId xmlns:p14="http://schemas.microsoft.com/office/powerpoint/2010/main" val="27110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>
            <a:extLst>
              <a:ext uri="{FF2B5EF4-FFF2-40B4-BE49-F238E27FC236}">
                <a16:creationId xmlns:a16="http://schemas.microsoft.com/office/drawing/2014/main" id="{22E4B106-B4D9-46F4-8363-1F3D58199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332673-F43F-49A8-AF9E-0805B8AD2492}"/>
              </a:ext>
            </a:extLst>
          </p:cNvPr>
          <p:cNvSpPr txBox="1"/>
          <p:nvPr/>
        </p:nvSpPr>
        <p:spPr>
          <a:xfrm>
            <a:off x="205008" y="296982"/>
            <a:ext cx="10996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Features : Unigra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E756A9-341F-4FB1-A545-A2ADDD3230DF}"/>
              </a:ext>
            </a:extLst>
          </p:cNvPr>
          <p:cNvSpPr txBox="1"/>
          <p:nvPr/>
        </p:nvSpPr>
        <p:spPr>
          <a:xfrm>
            <a:off x="320613" y="1367082"/>
            <a:ext cx="1076518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92D050"/>
                </a:solidFill>
              </a:rPr>
              <a:t>Individual words give us information, but….</a:t>
            </a:r>
          </a:p>
          <a:p>
            <a:endParaRPr lang="en-US" sz="2400" dirty="0">
              <a:solidFill>
                <a:srgbClr val="92D050"/>
              </a:solidFill>
            </a:endParaRPr>
          </a:p>
          <a:p>
            <a:pPr marL="457200" indent="-457200">
              <a:buAutoNum type="arabicPeriod"/>
            </a:pPr>
            <a:r>
              <a:rPr lang="en-US" sz="2400" dirty="0">
                <a:solidFill>
                  <a:srgbClr val="92D050"/>
                </a:solidFill>
              </a:rPr>
              <a:t>We forget the data sequence</a:t>
            </a:r>
          </a:p>
          <a:p>
            <a:pPr marL="457200" indent="-457200">
              <a:buAutoNum type="arabicPeriod"/>
            </a:pPr>
            <a:r>
              <a:rPr lang="en-US" sz="2400" dirty="0">
                <a:solidFill>
                  <a:srgbClr val="92D050"/>
                </a:solidFill>
              </a:rPr>
              <a:t>Some words are repeating many times.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C2AE98-1BA5-4322-9BBE-AB87439EBC17}"/>
              </a:ext>
            </a:extLst>
          </p:cNvPr>
          <p:cNvSpPr txBox="1"/>
          <p:nvPr/>
        </p:nvSpPr>
        <p:spPr>
          <a:xfrm>
            <a:off x="119283" y="2883505"/>
            <a:ext cx="1129664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800" b="1" dirty="0">
              <a:solidFill>
                <a:schemeClr val="bg1"/>
              </a:solidFill>
            </a:endParaRPr>
          </a:p>
          <a:p>
            <a:r>
              <a:rPr lang="en-US" sz="2800" b="1" dirty="0">
                <a:solidFill>
                  <a:schemeClr val="bg1"/>
                </a:solidFill>
              </a:rPr>
              <a:t>Stop words: </a:t>
            </a:r>
          </a:p>
          <a:p>
            <a:r>
              <a:rPr lang="en-US" sz="2800" b="1" dirty="0">
                <a:solidFill>
                  <a:schemeClr val="bg1"/>
                </a:solidFill>
              </a:rPr>
              <a:t>The, a, it, he, him, I, you, what,...</a:t>
            </a:r>
          </a:p>
          <a:p>
            <a:endParaRPr lang="en-US" sz="2800" b="1" dirty="0">
              <a:solidFill>
                <a:schemeClr val="bg1"/>
              </a:solidFill>
            </a:endParaRPr>
          </a:p>
          <a:p>
            <a:r>
              <a:rPr lang="en-US" sz="2800" b="1" dirty="0">
                <a:solidFill>
                  <a:schemeClr val="bg1"/>
                </a:solidFill>
              </a:rPr>
              <a:t>In most of the cases, Stop words don’t contain any information. </a:t>
            </a:r>
          </a:p>
        </p:txBody>
      </p:sp>
    </p:spTree>
    <p:extLst>
      <p:ext uri="{BB962C8B-B14F-4D97-AF65-F5344CB8AC3E}">
        <p14:creationId xmlns:p14="http://schemas.microsoft.com/office/powerpoint/2010/main" val="2591702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>
            <a:extLst>
              <a:ext uri="{FF2B5EF4-FFF2-40B4-BE49-F238E27FC236}">
                <a16:creationId xmlns:a16="http://schemas.microsoft.com/office/drawing/2014/main" id="{22E4B106-B4D9-46F4-8363-1F3D58199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332673-F43F-49A8-AF9E-0805B8AD2492}"/>
              </a:ext>
            </a:extLst>
          </p:cNvPr>
          <p:cNvSpPr txBox="1"/>
          <p:nvPr/>
        </p:nvSpPr>
        <p:spPr>
          <a:xfrm>
            <a:off x="205008" y="296982"/>
            <a:ext cx="10996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Features : Bigra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E756A9-341F-4FB1-A545-A2ADDD3230DF}"/>
              </a:ext>
            </a:extLst>
          </p:cNvPr>
          <p:cNvSpPr txBox="1"/>
          <p:nvPr/>
        </p:nvSpPr>
        <p:spPr>
          <a:xfrm>
            <a:off x="385016" y="1355411"/>
            <a:ext cx="1076518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92D050"/>
                </a:solidFill>
              </a:rPr>
              <a:t>Combine words give us more information:</a:t>
            </a:r>
          </a:p>
          <a:p>
            <a:endParaRPr lang="en-US" sz="2400" dirty="0">
              <a:solidFill>
                <a:srgbClr val="92D050"/>
              </a:solidFill>
            </a:endParaRPr>
          </a:p>
          <a:p>
            <a:pPr marL="457200" indent="-457200">
              <a:buAutoNum type="arabicPeriod"/>
            </a:pPr>
            <a:r>
              <a:rPr lang="en-US" sz="2400" dirty="0">
                <a:solidFill>
                  <a:srgbClr val="92D050"/>
                </a:solidFill>
              </a:rPr>
              <a:t>It keeps more about the sequence of the words</a:t>
            </a:r>
          </a:p>
          <a:p>
            <a:pPr marL="457200" indent="-457200">
              <a:buAutoNum type="arabicPeriod"/>
            </a:pPr>
            <a:r>
              <a:rPr lang="en-US" sz="2400" dirty="0">
                <a:solidFill>
                  <a:srgbClr val="92D050"/>
                </a:solidFill>
              </a:rPr>
              <a:t>It contains phrase, not just words. </a:t>
            </a:r>
          </a:p>
          <a:p>
            <a:pPr marL="457200" indent="-457200">
              <a:buAutoNum type="arabicPeriod"/>
            </a:pPr>
            <a:endParaRPr lang="en-US" sz="2400" dirty="0">
              <a:solidFill>
                <a:srgbClr val="92D05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C2AE98-1BA5-4322-9BBE-AB87439EBC17}"/>
              </a:ext>
            </a:extLst>
          </p:cNvPr>
          <p:cNvSpPr txBox="1"/>
          <p:nvPr/>
        </p:nvSpPr>
        <p:spPr>
          <a:xfrm>
            <a:off x="119283" y="2869639"/>
            <a:ext cx="112966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F1249FD-12E8-4537-A3A7-1A86EDD60E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613" y="4442871"/>
            <a:ext cx="5010150" cy="12763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CEA14C2-9BE0-44D8-98F6-27C991F8B7A9}"/>
              </a:ext>
            </a:extLst>
          </p:cNvPr>
          <p:cNvSpPr txBox="1"/>
          <p:nvPr/>
        </p:nvSpPr>
        <p:spPr>
          <a:xfrm>
            <a:off x="5905500" y="5509533"/>
            <a:ext cx="5010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Higher order of grams ?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FCE4DE-8252-45E2-BBE8-E81BADC9FAFB}"/>
              </a:ext>
            </a:extLst>
          </p:cNvPr>
          <p:cNvSpPr txBox="1"/>
          <p:nvPr/>
        </p:nvSpPr>
        <p:spPr>
          <a:xfrm>
            <a:off x="320613" y="2912833"/>
            <a:ext cx="1129664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New York University was accepting 10000 candidates around the world in 2018 semester.   We are planning to accept 7000 students in New York campus this year.  </a:t>
            </a:r>
          </a:p>
        </p:txBody>
      </p:sp>
    </p:spTree>
    <p:extLst>
      <p:ext uri="{BB962C8B-B14F-4D97-AF65-F5344CB8AC3E}">
        <p14:creationId xmlns:p14="http://schemas.microsoft.com/office/powerpoint/2010/main" val="136292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>
            <a:extLst>
              <a:ext uri="{FF2B5EF4-FFF2-40B4-BE49-F238E27FC236}">
                <a16:creationId xmlns:a16="http://schemas.microsoft.com/office/drawing/2014/main" id="{22E4B106-B4D9-46F4-8363-1F3D58199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332673-F43F-49A8-AF9E-0805B8AD2492}"/>
              </a:ext>
            </a:extLst>
          </p:cNvPr>
          <p:cNvSpPr txBox="1"/>
          <p:nvPr/>
        </p:nvSpPr>
        <p:spPr>
          <a:xfrm>
            <a:off x="205008" y="296982"/>
            <a:ext cx="109963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Examples of document generated by n-gram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C2AE98-1BA5-4322-9BBE-AB87439EBC17}"/>
              </a:ext>
            </a:extLst>
          </p:cNvPr>
          <p:cNvSpPr txBox="1"/>
          <p:nvPr/>
        </p:nvSpPr>
        <p:spPr>
          <a:xfrm>
            <a:off x="119283" y="2869639"/>
            <a:ext cx="112966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17130B1-E93B-49AE-BBFC-0D341CB080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8760" y="2051308"/>
            <a:ext cx="8386586" cy="3952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378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2">
            <a:extLst>
              <a:ext uri="{FF2B5EF4-FFF2-40B4-BE49-F238E27FC236}">
                <a16:creationId xmlns:a16="http://schemas.microsoft.com/office/drawing/2014/main" id="{22E4B106-B4D9-46F4-8363-1F3D58199D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83" y="5931693"/>
            <a:ext cx="2599476" cy="7826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332673-F43F-49A8-AF9E-0805B8AD2492}"/>
              </a:ext>
            </a:extLst>
          </p:cNvPr>
          <p:cNvSpPr txBox="1"/>
          <p:nvPr/>
        </p:nvSpPr>
        <p:spPr>
          <a:xfrm>
            <a:off x="205008" y="296982"/>
            <a:ext cx="10996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>
                    <a:lumMod val="95000"/>
                  </a:schemeClr>
                </a:solidFill>
              </a:rPr>
              <a:t>Features of the Text Docume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466019-1157-4ED9-8CF5-14053381D7EC}"/>
              </a:ext>
            </a:extLst>
          </p:cNvPr>
          <p:cNvSpPr/>
          <p:nvPr/>
        </p:nvSpPr>
        <p:spPr>
          <a:xfrm>
            <a:off x="320613" y="1452297"/>
            <a:ext cx="11147487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3. Sentence segmentation</a:t>
            </a:r>
          </a:p>
          <a:p>
            <a:r>
              <a:rPr lang="en-US" sz="2800" dirty="0">
                <a:solidFill>
                  <a:schemeClr val="bg1"/>
                </a:solidFill>
                <a:latin typeface="-apple-system"/>
              </a:rPr>
              <a:t>Knowing the boundary of the sentence.</a:t>
            </a:r>
          </a:p>
          <a:p>
            <a:endParaRPr lang="en-US" sz="3200" dirty="0">
              <a:solidFill>
                <a:schemeClr val="bg1"/>
              </a:solidFill>
              <a:latin typeface="-apple-system"/>
            </a:endParaRPr>
          </a:p>
          <a:p>
            <a:r>
              <a:rPr lang="en-US" sz="3200" dirty="0">
                <a:solidFill>
                  <a:schemeClr val="bg1"/>
                </a:solidFill>
                <a:latin typeface="-apple-system"/>
              </a:rPr>
              <a:t>this is a sentence...hello...and another sentence. </a:t>
            </a:r>
          </a:p>
          <a:p>
            <a:endParaRPr lang="en-US" sz="3200" dirty="0">
              <a:solidFill>
                <a:schemeClr val="bg1"/>
              </a:solidFill>
              <a:latin typeface="-apple-system"/>
            </a:endParaRPr>
          </a:p>
          <a:p>
            <a:r>
              <a:rPr lang="en-US" sz="3200" dirty="0">
                <a:solidFill>
                  <a:schemeClr val="bg1"/>
                </a:solidFill>
                <a:latin typeface="-apple-system"/>
              </a:rPr>
              <a:t>Cautious while using dot (.) as a sentence separator. </a:t>
            </a:r>
          </a:p>
          <a:p>
            <a:r>
              <a:rPr lang="en-US" sz="3200" dirty="0">
                <a:solidFill>
                  <a:schemeClr val="bg1"/>
                </a:solidFill>
                <a:latin typeface="-apple-system"/>
              </a:rPr>
              <a:t>=&gt; The procedures of the processing the text matter! </a:t>
            </a:r>
          </a:p>
        </p:txBody>
      </p:sp>
    </p:spTree>
    <p:extLst>
      <p:ext uri="{BB962C8B-B14F-4D97-AF65-F5344CB8AC3E}">
        <p14:creationId xmlns:p14="http://schemas.microsoft.com/office/powerpoint/2010/main" val="2409101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82</TotalTime>
  <Words>835</Words>
  <Application>Microsoft Office PowerPoint</Application>
  <PresentationFormat>Widescreen</PresentationFormat>
  <Paragraphs>122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-apple-system</vt:lpstr>
      <vt:lpstr>Helvetica Neue</vt:lpstr>
      <vt:lpstr>Arial</vt:lpstr>
      <vt:lpstr>Calibri</vt:lpstr>
      <vt:lpstr>Calibri Light</vt:lpstr>
      <vt:lpstr>Segoe UI</vt:lpstr>
      <vt:lpstr>Office Theme</vt:lpstr>
      <vt:lpstr>think-cell Slide</vt:lpstr>
      <vt:lpstr>AI Modeling Language Features and Introduction to Scikit-learn   Lecture 2   Dec 22, 2019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ing-Cheng Hsu</dc:creator>
  <cp:lastModifiedBy>Ching-Cheng Hsu</cp:lastModifiedBy>
  <cp:revision>2</cp:revision>
  <cp:lastPrinted>2019-12-16T07:07:10Z</cp:lastPrinted>
  <dcterms:created xsi:type="dcterms:W3CDTF">2019-12-14T19:27:38Z</dcterms:created>
  <dcterms:modified xsi:type="dcterms:W3CDTF">2019-12-22T21:0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chih@microsoft.com</vt:lpwstr>
  </property>
  <property fmtid="{D5CDD505-2E9C-101B-9397-08002B2CF9AE}" pid="5" name="MSIP_Label_f42aa342-8706-4288-bd11-ebb85995028c_SetDate">
    <vt:lpwstr>2019-12-14T19:35:37.9503224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c54edc68-19ef-46f7-998d-53e9f752e489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